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comments/comment1.xml" ContentType="application/vnd.openxmlformats-officedocument.presentationml.comments+xml"/>
  <Override PartName="/ppt/notesSlides/notesSlide2.xml" ContentType="application/vnd.openxmlformats-officedocument.presentationml.notesSlide+xml"/>
  <Override PartName="/ppt/comments/comment2.xml" ContentType="application/vnd.openxmlformats-officedocument.presentationml.comments+xml"/>
  <Override PartName="/ppt/comments/comment3.xml" ContentType="application/vnd.openxmlformats-officedocument.presentationml.comment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64" r:id="rId5"/>
  </p:sldMasterIdLst>
  <p:notesMasterIdLst>
    <p:notesMasterId r:id="rId18"/>
  </p:notesMasterIdLst>
  <p:handoutMasterIdLst>
    <p:handoutMasterId r:id="rId19"/>
  </p:handoutMasterIdLst>
  <p:sldIdLst>
    <p:sldId id="278" r:id="rId6"/>
    <p:sldId id="268" r:id="rId7"/>
    <p:sldId id="267" r:id="rId8"/>
    <p:sldId id="281" r:id="rId9"/>
    <p:sldId id="291" r:id="rId10"/>
    <p:sldId id="293" r:id="rId11"/>
    <p:sldId id="285" r:id="rId12"/>
    <p:sldId id="292" r:id="rId13"/>
    <p:sldId id="294" r:id="rId14"/>
    <p:sldId id="295" r:id="rId15"/>
    <p:sldId id="296" r:id="rId16"/>
    <p:sldId id="276" r:id="rId17"/>
  </p:sldIdLst>
  <p:sldSz cx="9144000" cy="6858000" type="screen4x3"/>
  <p:notesSz cx="6858000" cy="9144000"/>
  <p:custDataLst>
    <p:tags r:id="rId20"/>
  </p:custDataLst>
  <p:defaultTextStyle>
    <a:defPPr>
      <a:defRPr lang="en-US"/>
    </a:defPPr>
    <a:lvl1pPr marL="0" algn="l" defTabSz="779163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1pPr>
    <a:lvl2pPr marL="389582" algn="l" defTabSz="779163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2pPr>
    <a:lvl3pPr marL="779163" algn="l" defTabSz="779163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3pPr>
    <a:lvl4pPr marL="1168745" algn="l" defTabSz="779163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4pPr>
    <a:lvl5pPr marL="1558326" algn="l" defTabSz="779163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5pPr>
    <a:lvl6pPr marL="1947908" algn="l" defTabSz="779163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6pPr>
    <a:lvl7pPr marL="2337489" algn="l" defTabSz="779163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7pPr>
    <a:lvl8pPr marL="2727071" algn="l" defTabSz="779163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8pPr>
    <a:lvl9pPr marL="3116652" algn="l" defTabSz="779163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027">
          <p15:clr>
            <a:srgbClr val="A4A3A4"/>
          </p15:clr>
        </p15:guide>
        <p15:guide id="2" orient="horz" pos="623">
          <p15:clr>
            <a:srgbClr val="A4A3A4"/>
          </p15:clr>
        </p15:guide>
        <p15:guide id="3" pos="2880">
          <p15:clr>
            <a:srgbClr val="A4A3A4"/>
          </p15:clr>
        </p15:guide>
        <p15:guide id="4" pos="274">
          <p15:clr>
            <a:srgbClr val="A4A3A4"/>
          </p15:clr>
        </p15:guide>
        <p15:guide id="5" pos="549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odrigues, Julio C." initials="RJC" lastIdx="16" clrIdx="0">
    <p:extLst/>
  </p:cmAuthor>
  <p:cmAuthor id="2" name="Chimnani, Rajkumar" initials="CR" lastIdx="1" clrIdx="1">
    <p:extLst/>
  </p:cmAuthor>
  <p:cmAuthor id="3" name="Ribeiro, Leonardo" initials="RL" lastIdx="1" clrIdx="2">
    <p:extLst>
      <p:ext uri="{19B8F6BF-5375-455C-9EA6-DF929625EA0E}">
        <p15:presenceInfo xmlns:p15="http://schemas.microsoft.com/office/powerpoint/2012/main" userId="Ribeiro, Leonardo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266"/>
    <a:srgbClr val="408FCD"/>
    <a:srgbClr val="359B4C"/>
    <a:srgbClr val="FF9900"/>
    <a:srgbClr val="AA1133"/>
    <a:srgbClr val="551155"/>
    <a:srgbClr val="DD441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382" autoAdjust="0"/>
    <p:restoredTop sz="94434" autoAdjust="0"/>
  </p:normalViewPr>
  <p:slideViewPr>
    <p:cSldViewPr snapToGrid="0" showGuides="1">
      <p:cViewPr varScale="1">
        <p:scale>
          <a:sx n="92" d="100"/>
          <a:sy n="92" d="100"/>
        </p:scale>
        <p:origin x="1452" y="90"/>
      </p:cViewPr>
      <p:guideLst>
        <p:guide orient="horz" pos="4027"/>
        <p:guide orient="horz" pos="623"/>
        <p:guide pos="2880"/>
        <p:guide pos="274"/>
        <p:guide pos="549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70" d="100"/>
          <a:sy n="70" d="100"/>
        </p:scale>
        <p:origin x="3240" y="7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commentAuthors" Target="commentAuthor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presProps" Target="presProps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5-07-21T15:43:38.651" idx="12">
    <p:pos x="3156" y="745"/>
    <p:text>Sempre informar o nome do processo</p:text>
    <p:extLst mod="1">
      <p:ext uri="{C676402C-5697-4E1C-873F-D02D1690AC5C}">
        <p15:threadingInfo xmlns:p15="http://schemas.microsoft.com/office/powerpoint/2012/main" timeZoneBias="180"/>
      </p:ext>
    </p:extLst>
  </p:cm>
</p:cmLst>
</file>

<file path=ppt/comments/comment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5-07-21T15:43:38.651" idx="12">
    <p:pos x="3156" y="745"/>
    <p:text>Sempre informar o nome do processo</p:text>
    <p:extLst mod="1">
      <p:ext uri="{C676402C-5697-4E1C-873F-D02D1690AC5C}">
        <p15:threadingInfo xmlns:p15="http://schemas.microsoft.com/office/powerpoint/2012/main" timeZoneBias="180"/>
      </p:ext>
    </p:extLst>
  </p:cm>
</p:cmLst>
</file>

<file path=ppt/comments/comment3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5-07-21T15:43:38.651" idx="12">
    <p:pos x="3156" y="745"/>
    <p:text>Sempre informar o nome do processo</p:text>
    <p:extLst mod="1">
      <p:ext uri="{C676402C-5697-4E1C-873F-D02D1690AC5C}">
        <p15:threadingInfo xmlns:p15="http://schemas.microsoft.com/office/powerpoint/2012/main" timeZoneBias="180"/>
      </p:ext>
    </p:extLst>
  </p:cm>
</p:cmLst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9543BFC-411C-4932-84AF-F95B3D323F93}" type="doc">
      <dgm:prSet loTypeId="urn:microsoft.com/office/officeart/2005/8/layout/gear1" loCatId="process" qsTypeId="urn:microsoft.com/office/officeart/2005/8/quickstyle/simple1" qsCatId="simple" csTypeId="urn:microsoft.com/office/officeart/2005/8/colors/accent1_2" csCatId="accent1" phldr="1"/>
      <dgm:spPr/>
    </dgm:pt>
    <dgm:pt modelId="{B5CFEF5D-6A3C-420A-ADD2-365C63B302B9}">
      <dgm:prSet phldrT="[Text]"/>
      <dgm:spPr/>
      <dgm:t>
        <a:bodyPr/>
        <a:lstStyle/>
        <a:p>
          <a:r>
            <a:rPr lang="pt-BR" dirty="0" smtClean="0"/>
            <a:t> </a:t>
          </a:r>
          <a:endParaRPr lang="pt-BR" dirty="0"/>
        </a:p>
      </dgm:t>
    </dgm:pt>
    <dgm:pt modelId="{A5BB9162-F31A-4C77-A5A7-16057C8DD5C2}" type="parTrans" cxnId="{9E1BCEF6-DC52-4147-83A0-D489900552E5}">
      <dgm:prSet/>
      <dgm:spPr/>
      <dgm:t>
        <a:bodyPr/>
        <a:lstStyle/>
        <a:p>
          <a:endParaRPr lang="pt-BR"/>
        </a:p>
      </dgm:t>
    </dgm:pt>
    <dgm:pt modelId="{E6907C63-A233-4DAE-B96D-589B5E60B434}" type="sibTrans" cxnId="{9E1BCEF6-DC52-4147-83A0-D489900552E5}">
      <dgm:prSet/>
      <dgm:spPr/>
      <dgm:t>
        <a:bodyPr/>
        <a:lstStyle/>
        <a:p>
          <a:endParaRPr lang="pt-BR"/>
        </a:p>
      </dgm:t>
    </dgm:pt>
    <dgm:pt modelId="{A67CEFC1-6D07-4C9E-8B9B-16F4DFA5DE31}">
      <dgm:prSet phldrT="[Text]"/>
      <dgm:spPr/>
      <dgm:t>
        <a:bodyPr/>
        <a:lstStyle/>
        <a:p>
          <a:r>
            <a:rPr lang="pt-BR" dirty="0" smtClean="0"/>
            <a:t> </a:t>
          </a:r>
          <a:endParaRPr lang="pt-BR" dirty="0"/>
        </a:p>
      </dgm:t>
    </dgm:pt>
    <dgm:pt modelId="{5EB51751-5104-4F4F-84E6-C5AB9C5DEB0E}" type="parTrans" cxnId="{15ACD264-4B48-4EB2-B810-9D956BFDA8D0}">
      <dgm:prSet/>
      <dgm:spPr/>
      <dgm:t>
        <a:bodyPr/>
        <a:lstStyle/>
        <a:p>
          <a:endParaRPr lang="pt-BR"/>
        </a:p>
      </dgm:t>
    </dgm:pt>
    <dgm:pt modelId="{2EF8CFD4-E9EA-4BA0-9A33-C8F1A9BA201E}" type="sibTrans" cxnId="{15ACD264-4B48-4EB2-B810-9D956BFDA8D0}">
      <dgm:prSet/>
      <dgm:spPr/>
      <dgm:t>
        <a:bodyPr/>
        <a:lstStyle/>
        <a:p>
          <a:endParaRPr lang="pt-BR"/>
        </a:p>
      </dgm:t>
    </dgm:pt>
    <dgm:pt modelId="{B4AC21DC-EC9A-40FF-B178-A91C2EADC8C6}">
      <dgm:prSet phldrT="[Text]"/>
      <dgm:spPr/>
      <dgm:t>
        <a:bodyPr/>
        <a:lstStyle/>
        <a:p>
          <a:r>
            <a:rPr lang="pt-BR" dirty="0" smtClean="0"/>
            <a:t> </a:t>
          </a:r>
          <a:endParaRPr lang="pt-BR" dirty="0"/>
        </a:p>
      </dgm:t>
    </dgm:pt>
    <dgm:pt modelId="{BC6CC89C-0F52-49EE-8FCE-7A600796F706}" type="parTrans" cxnId="{7E65CBE5-1855-4622-917B-5C42C8450EB3}">
      <dgm:prSet/>
      <dgm:spPr/>
      <dgm:t>
        <a:bodyPr/>
        <a:lstStyle/>
        <a:p>
          <a:endParaRPr lang="pt-BR"/>
        </a:p>
      </dgm:t>
    </dgm:pt>
    <dgm:pt modelId="{0DEF3A54-425B-425D-9087-3815B7A4B7CF}" type="sibTrans" cxnId="{7E65CBE5-1855-4622-917B-5C42C8450EB3}">
      <dgm:prSet/>
      <dgm:spPr/>
      <dgm:t>
        <a:bodyPr/>
        <a:lstStyle/>
        <a:p>
          <a:endParaRPr lang="pt-BR"/>
        </a:p>
      </dgm:t>
    </dgm:pt>
    <dgm:pt modelId="{2EA225CC-2E49-44ED-8CC1-3CCBF84AD379}" type="pres">
      <dgm:prSet presAssocID="{89543BFC-411C-4932-84AF-F95B3D323F93}" presName="composite" presStyleCnt="0">
        <dgm:presLayoutVars>
          <dgm:chMax val="3"/>
          <dgm:animLvl val="lvl"/>
          <dgm:resizeHandles val="exact"/>
        </dgm:presLayoutVars>
      </dgm:prSet>
      <dgm:spPr/>
    </dgm:pt>
    <dgm:pt modelId="{D9CF0B2A-E4E4-4B79-9291-B91AB5224007}" type="pres">
      <dgm:prSet presAssocID="{B5CFEF5D-6A3C-420A-ADD2-365C63B302B9}" presName="gear1" presStyleLbl="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1C9BEAEE-8AF8-4D52-8651-CC1937F1A321}" type="pres">
      <dgm:prSet presAssocID="{B5CFEF5D-6A3C-420A-ADD2-365C63B302B9}" presName="gear1srcNode" presStyleLbl="node1" presStyleIdx="0" presStyleCnt="3"/>
      <dgm:spPr/>
      <dgm:t>
        <a:bodyPr/>
        <a:lstStyle/>
        <a:p>
          <a:endParaRPr lang="pt-BR"/>
        </a:p>
      </dgm:t>
    </dgm:pt>
    <dgm:pt modelId="{8DC6C1E0-B984-4F7F-A090-7E6A8EDF7369}" type="pres">
      <dgm:prSet presAssocID="{B5CFEF5D-6A3C-420A-ADD2-365C63B302B9}" presName="gear1dstNode" presStyleLbl="node1" presStyleIdx="0" presStyleCnt="3"/>
      <dgm:spPr/>
      <dgm:t>
        <a:bodyPr/>
        <a:lstStyle/>
        <a:p>
          <a:endParaRPr lang="pt-BR"/>
        </a:p>
      </dgm:t>
    </dgm:pt>
    <dgm:pt modelId="{E2C9D73F-FB76-4109-9C3B-CDD964B9A9DF}" type="pres">
      <dgm:prSet presAssocID="{A67CEFC1-6D07-4C9E-8B9B-16F4DFA5DE31}" presName="gear2" presStyleLbl="node1" presStyleIdx="1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9508E0F8-14DF-4543-B5FB-A17B54BCD50D}" type="pres">
      <dgm:prSet presAssocID="{A67CEFC1-6D07-4C9E-8B9B-16F4DFA5DE31}" presName="gear2srcNode" presStyleLbl="node1" presStyleIdx="1" presStyleCnt="3"/>
      <dgm:spPr/>
      <dgm:t>
        <a:bodyPr/>
        <a:lstStyle/>
        <a:p>
          <a:endParaRPr lang="pt-BR"/>
        </a:p>
      </dgm:t>
    </dgm:pt>
    <dgm:pt modelId="{00883E4F-EDF6-4DBF-8F50-80F81724BAB1}" type="pres">
      <dgm:prSet presAssocID="{A67CEFC1-6D07-4C9E-8B9B-16F4DFA5DE31}" presName="gear2dstNode" presStyleLbl="node1" presStyleIdx="1" presStyleCnt="3"/>
      <dgm:spPr/>
      <dgm:t>
        <a:bodyPr/>
        <a:lstStyle/>
        <a:p>
          <a:endParaRPr lang="pt-BR"/>
        </a:p>
      </dgm:t>
    </dgm:pt>
    <dgm:pt modelId="{2427AE9A-B7B7-44EE-9688-471A19F67348}" type="pres">
      <dgm:prSet presAssocID="{B4AC21DC-EC9A-40FF-B178-A91C2EADC8C6}" presName="gear3" presStyleLbl="node1" presStyleIdx="2" presStyleCnt="3"/>
      <dgm:spPr/>
      <dgm:t>
        <a:bodyPr/>
        <a:lstStyle/>
        <a:p>
          <a:endParaRPr lang="pt-BR"/>
        </a:p>
      </dgm:t>
    </dgm:pt>
    <dgm:pt modelId="{473C5192-4D9E-4697-8CA4-283C87844328}" type="pres">
      <dgm:prSet presAssocID="{B4AC21DC-EC9A-40FF-B178-A91C2EADC8C6}" presName="gear3tx" presStyleLbl="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BD007EEB-61A5-4C7D-B8A4-8E994164C878}" type="pres">
      <dgm:prSet presAssocID="{B4AC21DC-EC9A-40FF-B178-A91C2EADC8C6}" presName="gear3srcNode" presStyleLbl="node1" presStyleIdx="2" presStyleCnt="3"/>
      <dgm:spPr/>
      <dgm:t>
        <a:bodyPr/>
        <a:lstStyle/>
        <a:p>
          <a:endParaRPr lang="pt-BR"/>
        </a:p>
      </dgm:t>
    </dgm:pt>
    <dgm:pt modelId="{746F4FA9-5757-4AAD-9A04-5E552DBB9F9F}" type="pres">
      <dgm:prSet presAssocID="{B4AC21DC-EC9A-40FF-B178-A91C2EADC8C6}" presName="gear3dstNode" presStyleLbl="node1" presStyleIdx="2" presStyleCnt="3"/>
      <dgm:spPr/>
      <dgm:t>
        <a:bodyPr/>
        <a:lstStyle/>
        <a:p>
          <a:endParaRPr lang="pt-BR"/>
        </a:p>
      </dgm:t>
    </dgm:pt>
    <dgm:pt modelId="{1D106DD1-2D3A-4EAC-B3CC-942B5CA4B912}" type="pres">
      <dgm:prSet presAssocID="{E6907C63-A233-4DAE-B96D-589B5E60B434}" presName="connector1" presStyleLbl="sibTrans2D1" presStyleIdx="0" presStyleCnt="3"/>
      <dgm:spPr/>
      <dgm:t>
        <a:bodyPr/>
        <a:lstStyle/>
        <a:p>
          <a:endParaRPr lang="pt-BR"/>
        </a:p>
      </dgm:t>
    </dgm:pt>
    <dgm:pt modelId="{0D328973-7EA0-4BDA-8345-B35D0D5F9918}" type="pres">
      <dgm:prSet presAssocID="{2EF8CFD4-E9EA-4BA0-9A33-C8F1A9BA201E}" presName="connector2" presStyleLbl="sibTrans2D1" presStyleIdx="1" presStyleCnt="3"/>
      <dgm:spPr/>
      <dgm:t>
        <a:bodyPr/>
        <a:lstStyle/>
        <a:p>
          <a:endParaRPr lang="pt-BR"/>
        </a:p>
      </dgm:t>
    </dgm:pt>
    <dgm:pt modelId="{A6069DFB-10A0-41DC-94CF-D614D68D696C}" type="pres">
      <dgm:prSet presAssocID="{0DEF3A54-425B-425D-9087-3815B7A4B7CF}" presName="connector3" presStyleLbl="sibTrans2D1" presStyleIdx="2" presStyleCnt="3"/>
      <dgm:spPr/>
      <dgm:t>
        <a:bodyPr/>
        <a:lstStyle/>
        <a:p>
          <a:endParaRPr lang="pt-BR"/>
        </a:p>
      </dgm:t>
    </dgm:pt>
  </dgm:ptLst>
  <dgm:cxnLst>
    <dgm:cxn modelId="{AE5813AF-40EF-4675-B2BD-79CB37560D86}" type="presOf" srcId="{B5CFEF5D-6A3C-420A-ADD2-365C63B302B9}" destId="{8DC6C1E0-B984-4F7F-A090-7E6A8EDF7369}" srcOrd="2" destOrd="0" presId="urn:microsoft.com/office/officeart/2005/8/layout/gear1"/>
    <dgm:cxn modelId="{C453F739-4913-408B-930C-1BE61649ECAE}" type="presOf" srcId="{B4AC21DC-EC9A-40FF-B178-A91C2EADC8C6}" destId="{473C5192-4D9E-4697-8CA4-283C87844328}" srcOrd="1" destOrd="0" presId="urn:microsoft.com/office/officeart/2005/8/layout/gear1"/>
    <dgm:cxn modelId="{347D6379-1C36-4939-AAA7-431570B3C207}" type="presOf" srcId="{E6907C63-A233-4DAE-B96D-589B5E60B434}" destId="{1D106DD1-2D3A-4EAC-B3CC-942B5CA4B912}" srcOrd="0" destOrd="0" presId="urn:microsoft.com/office/officeart/2005/8/layout/gear1"/>
    <dgm:cxn modelId="{506061F5-8437-4895-9D8B-0AAF6CECCAEC}" type="presOf" srcId="{B4AC21DC-EC9A-40FF-B178-A91C2EADC8C6}" destId="{746F4FA9-5757-4AAD-9A04-5E552DBB9F9F}" srcOrd="3" destOrd="0" presId="urn:microsoft.com/office/officeart/2005/8/layout/gear1"/>
    <dgm:cxn modelId="{9E1BCEF6-DC52-4147-83A0-D489900552E5}" srcId="{89543BFC-411C-4932-84AF-F95B3D323F93}" destId="{B5CFEF5D-6A3C-420A-ADD2-365C63B302B9}" srcOrd="0" destOrd="0" parTransId="{A5BB9162-F31A-4C77-A5A7-16057C8DD5C2}" sibTransId="{E6907C63-A233-4DAE-B96D-589B5E60B434}"/>
    <dgm:cxn modelId="{2C60923A-D293-4208-A955-51E69E253F16}" type="presOf" srcId="{B4AC21DC-EC9A-40FF-B178-A91C2EADC8C6}" destId="{BD007EEB-61A5-4C7D-B8A4-8E994164C878}" srcOrd="2" destOrd="0" presId="urn:microsoft.com/office/officeart/2005/8/layout/gear1"/>
    <dgm:cxn modelId="{3414FF01-68AE-4B10-9A92-2BC08DF13FA9}" type="presOf" srcId="{B5CFEF5D-6A3C-420A-ADD2-365C63B302B9}" destId="{D9CF0B2A-E4E4-4B79-9291-B91AB5224007}" srcOrd="0" destOrd="0" presId="urn:microsoft.com/office/officeart/2005/8/layout/gear1"/>
    <dgm:cxn modelId="{F3E4B099-8808-4418-AF24-2DC3E2E3DACA}" type="presOf" srcId="{B5CFEF5D-6A3C-420A-ADD2-365C63B302B9}" destId="{1C9BEAEE-8AF8-4D52-8651-CC1937F1A321}" srcOrd="1" destOrd="0" presId="urn:microsoft.com/office/officeart/2005/8/layout/gear1"/>
    <dgm:cxn modelId="{9DF5AC79-9D19-467E-8FD6-129D11647155}" type="presOf" srcId="{B4AC21DC-EC9A-40FF-B178-A91C2EADC8C6}" destId="{2427AE9A-B7B7-44EE-9688-471A19F67348}" srcOrd="0" destOrd="0" presId="urn:microsoft.com/office/officeart/2005/8/layout/gear1"/>
    <dgm:cxn modelId="{D77F9872-F565-4496-B451-CFDEC10FADAC}" type="presOf" srcId="{89543BFC-411C-4932-84AF-F95B3D323F93}" destId="{2EA225CC-2E49-44ED-8CC1-3CCBF84AD379}" srcOrd="0" destOrd="0" presId="urn:microsoft.com/office/officeart/2005/8/layout/gear1"/>
    <dgm:cxn modelId="{9B3158D0-E6ED-4937-BF9F-FA3B4B0B2DBF}" type="presOf" srcId="{2EF8CFD4-E9EA-4BA0-9A33-C8F1A9BA201E}" destId="{0D328973-7EA0-4BDA-8345-B35D0D5F9918}" srcOrd="0" destOrd="0" presId="urn:microsoft.com/office/officeart/2005/8/layout/gear1"/>
    <dgm:cxn modelId="{2946A790-C8E8-4DBF-B92D-534C273366A3}" type="presOf" srcId="{0DEF3A54-425B-425D-9087-3815B7A4B7CF}" destId="{A6069DFB-10A0-41DC-94CF-D614D68D696C}" srcOrd="0" destOrd="0" presId="urn:microsoft.com/office/officeart/2005/8/layout/gear1"/>
    <dgm:cxn modelId="{FD932DAD-0459-41C3-AA20-D1B09B02D816}" type="presOf" srcId="{A67CEFC1-6D07-4C9E-8B9B-16F4DFA5DE31}" destId="{9508E0F8-14DF-4543-B5FB-A17B54BCD50D}" srcOrd="1" destOrd="0" presId="urn:microsoft.com/office/officeart/2005/8/layout/gear1"/>
    <dgm:cxn modelId="{15ACD264-4B48-4EB2-B810-9D956BFDA8D0}" srcId="{89543BFC-411C-4932-84AF-F95B3D323F93}" destId="{A67CEFC1-6D07-4C9E-8B9B-16F4DFA5DE31}" srcOrd="1" destOrd="0" parTransId="{5EB51751-5104-4F4F-84E6-C5AB9C5DEB0E}" sibTransId="{2EF8CFD4-E9EA-4BA0-9A33-C8F1A9BA201E}"/>
    <dgm:cxn modelId="{7E65CBE5-1855-4622-917B-5C42C8450EB3}" srcId="{89543BFC-411C-4932-84AF-F95B3D323F93}" destId="{B4AC21DC-EC9A-40FF-B178-A91C2EADC8C6}" srcOrd="2" destOrd="0" parTransId="{BC6CC89C-0F52-49EE-8FCE-7A600796F706}" sibTransId="{0DEF3A54-425B-425D-9087-3815B7A4B7CF}"/>
    <dgm:cxn modelId="{C55FBF6F-0A02-4644-91DD-869E0B975378}" type="presOf" srcId="{A67CEFC1-6D07-4C9E-8B9B-16F4DFA5DE31}" destId="{E2C9D73F-FB76-4109-9C3B-CDD964B9A9DF}" srcOrd="0" destOrd="0" presId="urn:microsoft.com/office/officeart/2005/8/layout/gear1"/>
    <dgm:cxn modelId="{7CCA82E1-0B97-4BB7-BA08-E05066BC2687}" type="presOf" srcId="{A67CEFC1-6D07-4C9E-8B9B-16F4DFA5DE31}" destId="{00883E4F-EDF6-4DBF-8F50-80F81724BAB1}" srcOrd="2" destOrd="0" presId="urn:microsoft.com/office/officeart/2005/8/layout/gear1"/>
    <dgm:cxn modelId="{6A5F8CDF-5069-43CF-9E5D-AED35F921B8A}" type="presParOf" srcId="{2EA225CC-2E49-44ED-8CC1-3CCBF84AD379}" destId="{D9CF0B2A-E4E4-4B79-9291-B91AB5224007}" srcOrd="0" destOrd="0" presId="urn:microsoft.com/office/officeart/2005/8/layout/gear1"/>
    <dgm:cxn modelId="{10F0C8B1-B0F1-4443-8D0E-79B857791424}" type="presParOf" srcId="{2EA225CC-2E49-44ED-8CC1-3CCBF84AD379}" destId="{1C9BEAEE-8AF8-4D52-8651-CC1937F1A321}" srcOrd="1" destOrd="0" presId="urn:microsoft.com/office/officeart/2005/8/layout/gear1"/>
    <dgm:cxn modelId="{B9B93C88-ED76-467E-863C-36AB6744F85C}" type="presParOf" srcId="{2EA225CC-2E49-44ED-8CC1-3CCBF84AD379}" destId="{8DC6C1E0-B984-4F7F-A090-7E6A8EDF7369}" srcOrd="2" destOrd="0" presId="urn:microsoft.com/office/officeart/2005/8/layout/gear1"/>
    <dgm:cxn modelId="{D6521D39-164D-4EE8-8CBF-835365D7F324}" type="presParOf" srcId="{2EA225CC-2E49-44ED-8CC1-3CCBF84AD379}" destId="{E2C9D73F-FB76-4109-9C3B-CDD964B9A9DF}" srcOrd="3" destOrd="0" presId="urn:microsoft.com/office/officeart/2005/8/layout/gear1"/>
    <dgm:cxn modelId="{C2C6A017-3BA9-4050-8817-9E8C6D1DA568}" type="presParOf" srcId="{2EA225CC-2E49-44ED-8CC1-3CCBF84AD379}" destId="{9508E0F8-14DF-4543-B5FB-A17B54BCD50D}" srcOrd="4" destOrd="0" presId="urn:microsoft.com/office/officeart/2005/8/layout/gear1"/>
    <dgm:cxn modelId="{5ACCFB2F-0D50-4413-B9B3-E4D17F04A6BC}" type="presParOf" srcId="{2EA225CC-2E49-44ED-8CC1-3CCBF84AD379}" destId="{00883E4F-EDF6-4DBF-8F50-80F81724BAB1}" srcOrd="5" destOrd="0" presId="urn:microsoft.com/office/officeart/2005/8/layout/gear1"/>
    <dgm:cxn modelId="{2324C12B-50D7-42D1-A2D9-49A03A35A14D}" type="presParOf" srcId="{2EA225CC-2E49-44ED-8CC1-3CCBF84AD379}" destId="{2427AE9A-B7B7-44EE-9688-471A19F67348}" srcOrd="6" destOrd="0" presId="urn:microsoft.com/office/officeart/2005/8/layout/gear1"/>
    <dgm:cxn modelId="{12539367-C140-45CE-B6B6-34BE54809F36}" type="presParOf" srcId="{2EA225CC-2E49-44ED-8CC1-3CCBF84AD379}" destId="{473C5192-4D9E-4697-8CA4-283C87844328}" srcOrd="7" destOrd="0" presId="urn:microsoft.com/office/officeart/2005/8/layout/gear1"/>
    <dgm:cxn modelId="{4A453EEE-AD98-4FA6-AF99-271681DD0E0A}" type="presParOf" srcId="{2EA225CC-2E49-44ED-8CC1-3CCBF84AD379}" destId="{BD007EEB-61A5-4C7D-B8A4-8E994164C878}" srcOrd="8" destOrd="0" presId="urn:microsoft.com/office/officeart/2005/8/layout/gear1"/>
    <dgm:cxn modelId="{CC02011C-9A8B-4663-87C0-02AFE84E7078}" type="presParOf" srcId="{2EA225CC-2E49-44ED-8CC1-3CCBF84AD379}" destId="{746F4FA9-5757-4AAD-9A04-5E552DBB9F9F}" srcOrd="9" destOrd="0" presId="urn:microsoft.com/office/officeart/2005/8/layout/gear1"/>
    <dgm:cxn modelId="{92085124-3582-454D-8C35-3205A834F238}" type="presParOf" srcId="{2EA225CC-2E49-44ED-8CC1-3CCBF84AD379}" destId="{1D106DD1-2D3A-4EAC-B3CC-942B5CA4B912}" srcOrd="10" destOrd="0" presId="urn:microsoft.com/office/officeart/2005/8/layout/gear1"/>
    <dgm:cxn modelId="{FA108509-3DFC-4EEF-A3C8-26FBFD42BF1E}" type="presParOf" srcId="{2EA225CC-2E49-44ED-8CC1-3CCBF84AD379}" destId="{0D328973-7EA0-4BDA-8345-B35D0D5F9918}" srcOrd="11" destOrd="0" presId="urn:microsoft.com/office/officeart/2005/8/layout/gear1"/>
    <dgm:cxn modelId="{60ECA094-16C5-49E5-A6E1-2E2B8FB79F5A}" type="presParOf" srcId="{2EA225CC-2E49-44ED-8CC1-3CCBF84AD379}" destId="{A6069DFB-10A0-41DC-94CF-D614D68D696C}" srcOrd="12" destOrd="0" presId="urn:microsoft.com/office/officeart/2005/8/layout/gear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F69F900E-8C12-4BFD-BBDB-E325B9398904}" type="doc">
      <dgm:prSet loTypeId="urn:microsoft.com/office/officeart/2005/8/layout/pyramid4" loCatId="pyramid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4314EE2F-1D85-463E-BD29-E4D93DDC1295}">
      <dgm:prSet phldrT="[Text]"/>
      <dgm:spPr/>
      <dgm:t>
        <a:bodyPr/>
        <a:lstStyle/>
        <a:p>
          <a:r>
            <a:rPr lang="pt-BR" dirty="0" smtClean="0"/>
            <a:t> </a:t>
          </a:r>
          <a:endParaRPr lang="pt-BR" dirty="0"/>
        </a:p>
      </dgm:t>
    </dgm:pt>
    <dgm:pt modelId="{3E6E2FB2-9D86-4145-A67D-A4A87996BC5F}" type="parTrans" cxnId="{56BEEB81-B007-4EA1-855C-FA3018BD0661}">
      <dgm:prSet/>
      <dgm:spPr/>
      <dgm:t>
        <a:bodyPr/>
        <a:lstStyle/>
        <a:p>
          <a:endParaRPr lang="pt-BR"/>
        </a:p>
      </dgm:t>
    </dgm:pt>
    <dgm:pt modelId="{68D50B66-F1D5-454F-B8A3-3E6431DE03D9}" type="sibTrans" cxnId="{56BEEB81-B007-4EA1-855C-FA3018BD0661}">
      <dgm:prSet/>
      <dgm:spPr/>
      <dgm:t>
        <a:bodyPr/>
        <a:lstStyle/>
        <a:p>
          <a:endParaRPr lang="pt-BR"/>
        </a:p>
      </dgm:t>
    </dgm:pt>
    <dgm:pt modelId="{CCAFF948-E824-4B26-BEF8-E377FB33BB79}">
      <dgm:prSet phldrT="[Text]"/>
      <dgm:spPr/>
      <dgm:t>
        <a:bodyPr/>
        <a:lstStyle/>
        <a:p>
          <a:r>
            <a:rPr lang="pt-BR" dirty="0" smtClean="0"/>
            <a:t> </a:t>
          </a:r>
          <a:endParaRPr lang="pt-BR" dirty="0"/>
        </a:p>
      </dgm:t>
    </dgm:pt>
    <dgm:pt modelId="{DA16593C-F232-4863-B9D7-BFA498FC05BB}" type="parTrans" cxnId="{A9FB569C-391B-443D-B7EC-F8B6A083D079}">
      <dgm:prSet/>
      <dgm:spPr/>
      <dgm:t>
        <a:bodyPr/>
        <a:lstStyle/>
        <a:p>
          <a:endParaRPr lang="pt-BR"/>
        </a:p>
      </dgm:t>
    </dgm:pt>
    <dgm:pt modelId="{0473B294-0645-4B1B-AD4C-F4E43CE58275}" type="sibTrans" cxnId="{A9FB569C-391B-443D-B7EC-F8B6A083D079}">
      <dgm:prSet/>
      <dgm:spPr/>
      <dgm:t>
        <a:bodyPr/>
        <a:lstStyle/>
        <a:p>
          <a:endParaRPr lang="pt-BR"/>
        </a:p>
      </dgm:t>
    </dgm:pt>
    <dgm:pt modelId="{6BBB511E-E8E4-4B74-A314-88D6D7CD540C}">
      <dgm:prSet phldrT="[Text]"/>
      <dgm:spPr/>
      <dgm:t>
        <a:bodyPr/>
        <a:lstStyle/>
        <a:p>
          <a:r>
            <a:rPr lang="pt-BR" dirty="0" smtClean="0"/>
            <a:t> </a:t>
          </a:r>
          <a:endParaRPr lang="pt-BR" dirty="0"/>
        </a:p>
      </dgm:t>
    </dgm:pt>
    <dgm:pt modelId="{903E0939-0B48-45FA-96A6-1C18C610807D}" type="parTrans" cxnId="{FFDA9CEE-6D86-4CAC-B87A-FCFFD165664B}">
      <dgm:prSet/>
      <dgm:spPr/>
      <dgm:t>
        <a:bodyPr/>
        <a:lstStyle/>
        <a:p>
          <a:endParaRPr lang="pt-BR"/>
        </a:p>
      </dgm:t>
    </dgm:pt>
    <dgm:pt modelId="{63F78780-3C4F-442A-8C5B-824F086D0289}" type="sibTrans" cxnId="{FFDA9CEE-6D86-4CAC-B87A-FCFFD165664B}">
      <dgm:prSet/>
      <dgm:spPr/>
      <dgm:t>
        <a:bodyPr/>
        <a:lstStyle/>
        <a:p>
          <a:endParaRPr lang="pt-BR"/>
        </a:p>
      </dgm:t>
    </dgm:pt>
    <dgm:pt modelId="{F9BF7ABB-0667-4304-89B4-F2A4A15BB821}">
      <dgm:prSet phldrT="[Text]"/>
      <dgm:spPr/>
      <dgm:t>
        <a:bodyPr/>
        <a:lstStyle/>
        <a:p>
          <a:r>
            <a:rPr lang="pt-BR" dirty="0" smtClean="0"/>
            <a:t> </a:t>
          </a:r>
          <a:endParaRPr lang="pt-BR" dirty="0"/>
        </a:p>
      </dgm:t>
    </dgm:pt>
    <dgm:pt modelId="{69BCA73F-D01C-48C8-91C4-BF69BC037300}" type="parTrans" cxnId="{086F983A-6C4E-4971-B93C-2258AEF3EDE4}">
      <dgm:prSet/>
      <dgm:spPr/>
      <dgm:t>
        <a:bodyPr/>
        <a:lstStyle/>
        <a:p>
          <a:endParaRPr lang="pt-BR"/>
        </a:p>
      </dgm:t>
    </dgm:pt>
    <dgm:pt modelId="{F51FEDC6-6252-4C55-B493-A7A0BD8F3AB5}" type="sibTrans" cxnId="{086F983A-6C4E-4971-B93C-2258AEF3EDE4}">
      <dgm:prSet/>
      <dgm:spPr/>
      <dgm:t>
        <a:bodyPr/>
        <a:lstStyle/>
        <a:p>
          <a:endParaRPr lang="pt-BR"/>
        </a:p>
      </dgm:t>
    </dgm:pt>
    <dgm:pt modelId="{B20675A2-03EE-4DCD-82FA-BB78A0EAE284}" type="pres">
      <dgm:prSet presAssocID="{F69F900E-8C12-4BFD-BBDB-E325B9398904}" presName="compositeShape" presStyleCnt="0">
        <dgm:presLayoutVars>
          <dgm:chMax val="9"/>
          <dgm:dir/>
          <dgm:resizeHandles val="exact"/>
        </dgm:presLayoutVars>
      </dgm:prSet>
      <dgm:spPr/>
      <dgm:t>
        <a:bodyPr/>
        <a:lstStyle/>
        <a:p>
          <a:endParaRPr lang="pt-BR"/>
        </a:p>
      </dgm:t>
    </dgm:pt>
    <dgm:pt modelId="{64433F73-E662-4882-9F7F-758FD3AE30B7}" type="pres">
      <dgm:prSet presAssocID="{F69F900E-8C12-4BFD-BBDB-E325B9398904}" presName="triangle1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0DA0B4D2-89D2-4A8F-917F-F074B8961B3D}" type="pres">
      <dgm:prSet presAssocID="{F69F900E-8C12-4BFD-BBDB-E325B9398904}" presName="triangle2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FCC81336-869F-411B-9391-B04824C3D716}" type="pres">
      <dgm:prSet presAssocID="{F69F900E-8C12-4BFD-BBDB-E325B9398904}" presName="triangle3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C955E634-30BF-4B53-8E9F-76C4E7C0546C}" type="pres">
      <dgm:prSet presAssocID="{F69F900E-8C12-4BFD-BBDB-E325B9398904}" presName="triangle4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</dgm:ptLst>
  <dgm:cxnLst>
    <dgm:cxn modelId="{086F983A-6C4E-4971-B93C-2258AEF3EDE4}" srcId="{F69F900E-8C12-4BFD-BBDB-E325B9398904}" destId="{F9BF7ABB-0667-4304-89B4-F2A4A15BB821}" srcOrd="3" destOrd="0" parTransId="{69BCA73F-D01C-48C8-91C4-BF69BC037300}" sibTransId="{F51FEDC6-6252-4C55-B493-A7A0BD8F3AB5}"/>
    <dgm:cxn modelId="{56BEEB81-B007-4EA1-855C-FA3018BD0661}" srcId="{F69F900E-8C12-4BFD-BBDB-E325B9398904}" destId="{4314EE2F-1D85-463E-BD29-E4D93DDC1295}" srcOrd="0" destOrd="0" parTransId="{3E6E2FB2-9D86-4145-A67D-A4A87996BC5F}" sibTransId="{68D50B66-F1D5-454F-B8A3-3E6431DE03D9}"/>
    <dgm:cxn modelId="{C646E294-4B70-4B20-B331-F20A91924945}" type="presOf" srcId="{4314EE2F-1D85-463E-BD29-E4D93DDC1295}" destId="{64433F73-E662-4882-9F7F-758FD3AE30B7}" srcOrd="0" destOrd="0" presId="urn:microsoft.com/office/officeart/2005/8/layout/pyramid4"/>
    <dgm:cxn modelId="{FFDA9CEE-6D86-4CAC-B87A-FCFFD165664B}" srcId="{F69F900E-8C12-4BFD-BBDB-E325B9398904}" destId="{6BBB511E-E8E4-4B74-A314-88D6D7CD540C}" srcOrd="2" destOrd="0" parTransId="{903E0939-0B48-45FA-96A6-1C18C610807D}" sibTransId="{63F78780-3C4F-442A-8C5B-824F086D0289}"/>
    <dgm:cxn modelId="{931513E8-5819-4E7A-9C98-5B0FE88052BF}" type="presOf" srcId="{F69F900E-8C12-4BFD-BBDB-E325B9398904}" destId="{B20675A2-03EE-4DCD-82FA-BB78A0EAE284}" srcOrd="0" destOrd="0" presId="urn:microsoft.com/office/officeart/2005/8/layout/pyramid4"/>
    <dgm:cxn modelId="{1C822401-15F4-4A9D-B7E5-640C036B2D82}" type="presOf" srcId="{F9BF7ABB-0667-4304-89B4-F2A4A15BB821}" destId="{C955E634-30BF-4B53-8E9F-76C4E7C0546C}" srcOrd="0" destOrd="0" presId="urn:microsoft.com/office/officeart/2005/8/layout/pyramid4"/>
    <dgm:cxn modelId="{A9FB569C-391B-443D-B7EC-F8B6A083D079}" srcId="{F69F900E-8C12-4BFD-BBDB-E325B9398904}" destId="{CCAFF948-E824-4B26-BEF8-E377FB33BB79}" srcOrd="1" destOrd="0" parTransId="{DA16593C-F232-4863-B9D7-BFA498FC05BB}" sibTransId="{0473B294-0645-4B1B-AD4C-F4E43CE58275}"/>
    <dgm:cxn modelId="{D2EF30F0-0010-432B-8E36-E24E7585B4A3}" type="presOf" srcId="{6BBB511E-E8E4-4B74-A314-88D6D7CD540C}" destId="{FCC81336-869F-411B-9391-B04824C3D716}" srcOrd="0" destOrd="0" presId="urn:microsoft.com/office/officeart/2005/8/layout/pyramid4"/>
    <dgm:cxn modelId="{9A2D2975-3908-42C0-B04D-CCC7F5CEB029}" type="presOf" srcId="{CCAFF948-E824-4B26-BEF8-E377FB33BB79}" destId="{0DA0B4D2-89D2-4A8F-917F-F074B8961B3D}" srcOrd="0" destOrd="0" presId="urn:microsoft.com/office/officeart/2005/8/layout/pyramid4"/>
    <dgm:cxn modelId="{6475D149-DC44-4822-92D4-D8EB95F37C4B}" type="presParOf" srcId="{B20675A2-03EE-4DCD-82FA-BB78A0EAE284}" destId="{64433F73-E662-4882-9F7F-758FD3AE30B7}" srcOrd="0" destOrd="0" presId="urn:microsoft.com/office/officeart/2005/8/layout/pyramid4"/>
    <dgm:cxn modelId="{345D5A5A-0E8A-40E9-9E59-957C1198C546}" type="presParOf" srcId="{B20675A2-03EE-4DCD-82FA-BB78A0EAE284}" destId="{0DA0B4D2-89D2-4A8F-917F-F074B8961B3D}" srcOrd="1" destOrd="0" presId="urn:microsoft.com/office/officeart/2005/8/layout/pyramid4"/>
    <dgm:cxn modelId="{AEA6BC45-92F6-4C26-B3DB-DCFA8A2F6892}" type="presParOf" srcId="{B20675A2-03EE-4DCD-82FA-BB78A0EAE284}" destId="{FCC81336-869F-411B-9391-B04824C3D716}" srcOrd="2" destOrd="0" presId="urn:microsoft.com/office/officeart/2005/8/layout/pyramid4"/>
    <dgm:cxn modelId="{65C45AC4-08A9-4E0A-81B2-64D253031B22}" type="presParOf" srcId="{B20675A2-03EE-4DCD-82FA-BB78A0EAE284}" destId="{C955E634-30BF-4B53-8E9F-76C4E7C0546C}" srcOrd="3" destOrd="0" presId="urn:microsoft.com/office/officeart/2005/8/layout/pyramid4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9CF0B2A-E4E4-4B79-9291-B91AB5224007}">
      <dsp:nvSpPr>
        <dsp:cNvPr id="0" name=""/>
        <dsp:cNvSpPr/>
      </dsp:nvSpPr>
      <dsp:spPr>
        <a:xfrm>
          <a:off x="483177" y="487394"/>
          <a:ext cx="590549" cy="590549"/>
        </a:xfrm>
        <a:prstGeom prst="gear9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200" kern="1200" dirty="0" smtClean="0"/>
            <a:t> </a:t>
          </a:r>
          <a:endParaRPr lang="pt-BR" sz="1200" kern="1200" dirty="0"/>
        </a:p>
      </dsp:txBody>
      <dsp:txXfrm>
        <a:off x="601904" y="625727"/>
        <a:ext cx="353095" cy="303555"/>
      </dsp:txXfrm>
    </dsp:sp>
    <dsp:sp modelId="{E2C9D73F-FB76-4109-9C3B-CDD964B9A9DF}">
      <dsp:nvSpPr>
        <dsp:cNvPr id="0" name=""/>
        <dsp:cNvSpPr/>
      </dsp:nvSpPr>
      <dsp:spPr>
        <a:xfrm>
          <a:off x="139584" y="347810"/>
          <a:ext cx="429490" cy="429490"/>
        </a:xfrm>
        <a:prstGeom prst="gear6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200" kern="1200" dirty="0" smtClean="0"/>
            <a:t> </a:t>
          </a:r>
          <a:endParaRPr lang="pt-BR" sz="1200" kern="1200" dirty="0"/>
        </a:p>
      </dsp:txBody>
      <dsp:txXfrm>
        <a:off x="247709" y="456589"/>
        <a:ext cx="213240" cy="211932"/>
      </dsp:txXfrm>
    </dsp:sp>
    <dsp:sp modelId="{2427AE9A-B7B7-44EE-9688-471A19F67348}">
      <dsp:nvSpPr>
        <dsp:cNvPr id="0" name=""/>
        <dsp:cNvSpPr/>
      </dsp:nvSpPr>
      <dsp:spPr>
        <a:xfrm rot="20700000">
          <a:off x="380143" y="51505"/>
          <a:ext cx="420813" cy="420813"/>
        </a:xfrm>
        <a:prstGeom prst="gear6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200" kern="1200" dirty="0" smtClean="0"/>
            <a:t> </a:t>
          </a:r>
          <a:endParaRPr lang="pt-BR" sz="1200" kern="1200" dirty="0"/>
        </a:p>
      </dsp:txBody>
      <dsp:txXfrm rot="-20700000">
        <a:off x="472439" y="143802"/>
        <a:ext cx="236219" cy="236219"/>
      </dsp:txXfrm>
    </dsp:sp>
    <dsp:sp modelId="{1D106DD1-2D3A-4EAC-B3CC-942B5CA4B912}">
      <dsp:nvSpPr>
        <dsp:cNvPr id="0" name=""/>
        <dsp:cNvSpPr/>
      </dsp:nvSpPr>
      <dsp:spPr>
        <a:xfrm>
          <a:off x="409899" y="412658"/>
          <a:ext cx="755903" cy="755903"/>
        </a:xfrm>
        <a:prstGeom prst="circularArrow">
          <a:avLst>
            <a:gd name="adj1" fmla="val 4687"/>
            <a:gd name="adj2" fmla="val 299029"/>
            <a:gd name="adj3" fmla="val 2309663"/>
            <a:gd name="adj4" fmla="val 16415097"/>
            <a:gd name="adj5" fmla="val 5469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D328973-7EA0-4BDA-8345-B35D0D5F9918}">
      <dsp:nvSpPr>
        <dsp:cNvPr id="0" name=""/>
        <dsp:cNvSpPr/>
      </dsp:nvSpPr>
      <dsp:spPr>
        <a:xfrm>
          <a:off x="63522" y="266172"/>
          <a:ext cx="549211" cy="549211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6069DFB-10A0-41DC-94CF-D614D68D696C}">
      <dsp:nvSpPr>
        <dsp:cNvPr id="0" name=""/>
        <dsp:cNvSpPr/>
      </dsp:nvSpPr>
      <dsp:spPr>
        <a:xfrm>
          <a:off x="282804" y="-27276"/>
          <a:ext cx="592160" cy="592160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4433F73-E662-4882-9F7F-758FD3AE30B7}">
      <dsp:nvSpPr>
        <dsp:cNvPr id="0" name=""/>
        <dsp:cNvSpPr/>
      </dsp:nvSpPr>
      <dsp:spPr>
        <a:xfrm>
          <a:off x="487036" y="0"/>
          <a:ext cx="487036" cy="487036"/>
        </a:xfrm>
        <a:prstGeom prst="triangl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100" kern="1200" dirty="0" smtClean="0"/>
            <a:t> </a:t>
          </a:r>
          <a:endParaRPr lang="pt-BR" sz="1100" kern="1200" dirty="0"/>
        </a:p>
      </dsp:txBody>
      <dsp:txXfrm>
        <a:off x="608795" y="243518"/>
        <a:ext cx="243518" cy="243518"/>
      </dsp:txXfrm>
    </dsp:sp>
    <dsp:sp modelId="{0DA0B4D2-89D2-4A8F-917F-F074B8961B3D}">
      <dsp:nvSpPr>
        <dsp:cNvPr id="0" name=""/>
        <dsp:cNvSpPr/>
      </dsp:nvSpPr>
      <dsp:spPr>
        <a:xfrm>
          <a:off x="243518" y="487036"/>
          <a:ext cx="487036" cy="487036"/>
        </a:xfrm>
        <a:prstGeom prst="triangl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100" kern="1200" dirty="0" smtClean="0"/>
            <a:t> </a:t>
          </a:r>
          <a:endParaRPr lang="pt-BR" sz="1100" kern="1200" dirty="0"/>
        </a:p>
      </dsp:txBody>
      <dsp:txXfrm>
        <a:off x="365277" y="730554"/>
        <a:ext cx="243518" cy="243518"/>
      </dsp:txXfrm>
    </dsp:sp>
    <dsp:sp modelId="{FCC81336-869F-411B-9391-B04824C3D716}">
      <dsp:nvSpPr>
        <dsp:cNvPr id="0" name=""/>
        <dsp:cNvSpPr/>
      </dsp:nvSpPr>
      <dsp:spPr>
        <a:xfrm rot="10800000">
          <a:off x="487036" y="487036"/>
          <a:ext cx="487036" cy="487036"/>
        </a:xfrm>
        <a:prstGeom prst="triangl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100" kern="1200" dirty="0" smtClean="0"/>
            <a:t> </a:t>
          </a:r>
          <a:endParaRPr lang="pt-BR" sz="1100" kern="1200" dirty="0"/>
        </a:p>
      </dsp:txBody>
      <dsp:txXfrm rot="10800000">
        <a:off x="608795" y="487036"/>
        <a:ext cx="243518" cy="243518"/>
      </dsp:txXfrm>
    </dsp:sp>
    <dsp:sp modelId="{C955E634-30BF-4B53-8E9F-76C4E7C0546C}">
      <dsp:nvSpPr>
        <dsp:cNvPr id="0" name=""/>
        <dsp:cNvSpPr/>
      </dsp:nvSpPr>
      <dsp:spPr>
        <a:xfrm>
          <a:off x="730554" y="487036"/>
          <a:ext cx="487036" cy="487036"/>
        </a:xfrm>
        <a:prstGeom prst="triangl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100" kern="1200" dirty="0" smtClean="0"/>
            <a:t> </a:t>
          </a:r>
          <a:endParaRPr lang="pt-BR" sz="1100" kern="1200" dirty="0"/>
        </a:p>
      </dsp:txBody>
      <dsp:txXfrm>
        <a:off x="852313" y="730554"/>
        <a:ext cx="243518" cy="24351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yramid4">
  <dgm:title val=""/>
  <dgm:desc val=""/>
  <dgm:catLst>
    <dgm:cat type="pyramid" pri="4000"/>
    <dgm:cat type="relationship" pri="9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compositeShape">
    <dgm:varLst>
      <dgm:chMax val="9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4">
        <dgm:choose name="Name2">
          <dgm:if name="Name3" axis="ch" ptType="node" func="cnt" op="equ" val="1">
            <dgm:constrLst>
              <dgm:constr type="primFontSz" for="ch" ptType="node" op="equ" val="65"/>
              <dgm:constr type="t" for="ch" forName="triangle1"/>
              <dgm:constr type="l" for="ch" forName="triangle1"/>
              <dgm:constr type="h" for="ch" forName="triangle1" refType="h"/>
              <dgm:constr type="w" for="ch" forName="triangle1" refType="h"/>
            </dgm:constrLst>
          </dgm:if>
          <dgm:else name="Name4">
            <dgm:constrLst>
              <dgm:constr type="primFontSz" for="ch" ptType="node" op="equ" val="65"/>
              <dgm:constr type="t" for="ch" forName="triangle1"/>
              <dgm:constr type="l" for="ch" forName="triangle1" refType="h" fact="0.25"/>
              <dgm:constr type="h" for="ch" forName="triangle1" refType="h" fact="0.5"/>
              <dgm:constr type="w" for="ch" forName="triangle1" refType="h" fact="0.5"/>
              <dgm:constr type="t" for="ch" forName="triangle2" refType="h" fact="0.5"/>
              <dgm:constr type="l" for="ch" forName="triangle2"/>
              <dgm:constr type="h" for="ch" forName="triangle2" refType="h" fact="0.5"/>
              <dgm:constr type="w" for="ch" forName="triangle2" refType="h" fact="0.5"/>
              <dgm:constr type="t" for="ch" forName="triangle3" refType="h" fact="0.5"/>
              <dgm:constr type="l" for="ch" forName="triangle3" refType="h" fact="0.25"/>
              <dgm:constr type="h" for="ch" forName="triangle3" refType="h" fact="0.5"/>
              <dgm:constr type="w" for="ch" forName="triangle3" refType="h" fact="0.5"/>
              <dgm:constr type="t" for="ch" forName="triangle4" refType="h" fact="0.5"/>
              <dgm:constr type="l" for="ch" forName="triangle4" refType="h" fact="0.5"/>
              <dgm:constr type="h" for="ch" forName="triangle4" refType="h" fact="0.5"/>
              <dgm:constr type="w" for="ch" forName="triangle4" refType="h" fact="0.5"/>
            </dgm:constrLst>
          </dgm:else>
        </dgm:choose>
      </dgm:if>
      <dgm:else name="Name5">
        <dgm:constrLst>
          <dgm:constr type="primFontSz" for="ch" ptType="node" op="equ" val="65"/>
          <dgm:constr type="t" for="ch" forName="triangle1"/>
          <dgm:constr type="l" for="ch" forName="triangle1" refType="h" fact="0.33"/>
          <dgm:constr type="h" for="ch" forName="triangle1" refType="h" fact="0.33"/>
          <dgm:constr type="w" for="ch" forName="triangle1" refType="h" fact="0.33"/>
          <dgm:constr type="t" for="ch" forName="triangle2" refType="h" fact="0.33"/>
          <dgm:constr type="l" for="ch" forName="triangle2" refType="h" fact="0.165"/>
          <dgm:constr type="h" for="ch" forName="triangle2" refType="h" fact="0.33"/>
          <dgm:constr type="w" for="ch" forName="triangle2" refType="h" fact="0.33"/>
          <dgm:constr type="t" for="ch" forName="triangle3" refType="h" fact="0.33"/>
          <dgm:constr type="l" for="ch" forName="triangle3" refType="h" fact="0.33"/>
          <dgm:constr type="h" for="ch" forName="triangle3" refType="h" fact="0.33"/>
          <dgm:constr type="w" for="ch" forName="triangle3" refType="h" fact="0.33"/>
          <dgm:constr type="t" for="ch" forName="triangle4" refType="h" fact="0.33"/>
          <dgm:constr type="l" for="ch" forName="triangle4" refType="h" fact="0.495"/>
          <dgm:constr type="h" for="ch" forName="triangle4" refType="h" fact="0.33"/>
          <dgm:constr type="w" for="ch" forName="triangle4" refType="h" fact="0.33"/>
          <dgm:constr type="t" for="ch" forName="triangle5" refType="h" fact="0.66"/>
          <dgm:constr type="l" for="ch" forName="triangle5"/>
          <dgm:constr type="h" for="ch" forName="triangle5" refType="h" fact="0.33"/>
          <dgm:constr type="w" for="ch" forName="triangle5" refType="h" fact="0.33"/>
          <dgm:constr type="t" for="ch" forName="triangle6" refType="h" fact="0.66"/>
          <dgm:constr type="l" for="ch" forName="triangle6" refType="h" fact="0.165"/>
          <dgm:constr type="h" for="ch" forName="triangle6" refType="h" fact="0.33"/>
          <dgm:constr type="w" for="ch" forName="triangle6" refType="h" fact="0.33"/>
          <dgm:constr type="t" for="ch" forName="triangle7" refType="h" fact="0.66"/>
          <dgm:constr type="l" for="ch" forName="triangle7" refType="h" fact="0.33"/>
          <dgm:constr type="h" for="ch" forName="triangle7" refType="h" fact="0.33"/>
          <dgm:constr type="w" for="ch" forName="triangle7" refType="h" fact="0.33"/>
          <dgm:constr type="t" for="ch" forName="triangle8" refType="h" fact="0.66"/>
          <dgm:constr type="l" for="ch" forName="triangle8" refType="h" fact="0.495"/>
          <dgm:constr type="h" for="ch" forName="triangle8" refType="h" fact="0.33"/>
          <dgm:constr type="w" for="ch" forName="triangle8" refType="h" fact="0.33"/>
          <dgm:constr type="t" for="ch" forName="triangle9" refType="h" fact="0.66"/>
          <dgm:constr type="l" for="ch" forName="triangle9" refType="h" fact="0.66"/>
          <dgm:constr type="h" for="ch" forName="triangle9" refType="h" fact="0.33"/>
          <dgm:constr type="w" for="ch" forName="triangle9" refType="h" fact="0.33"/>
        </dgm:constrLst>
      </dgm:else>
    </dgm:choose>
    <dgm:ruleLst/>
    <dgm:choose name="Name6">
      <dgm:if name="Name7" axis="ch" ptType="node" func="cnt" op="gte" val="1">
        <dgm:layoutNode name="triangle1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presOf axis="ch desOrSelf" ptType="node node" st="1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8"/>
    </dgm:choose>
    <dgm:choose name="Name9">
      <dgm:if name="Name10" axis="ch" ptType="node" func="cnt" op="gte" val="2">
        <dgm:layoutNode name="triangle2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choose name="Name11">
            <dgm:if name="Name12" func="var" arg="dir" op="equ" val="norm">
              <dgm:presOf axis="ch desOrSelf" ptType="node node" st="2 1" cnt="1 0"/>
            </dgm:if>
            <dgm:else name="Name13">
              <dgm:presOf axis="ch desOrSelf" ptType="node node" st="4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3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rot="180" type="triangle" r:blip="">
            <dgm:adjLst/>
          </dgm:shape>
          <dgm:presOf axis="ch desOrSelf" ptType="node node" st="3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4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choose name="Name14">
            <dgm:if name="Name15" func="var" arg="dir" op="equ" val="norm">
              <dgm:presOf axis="ch desOrSelf" ptType="node node" st="4 1" cnt="1 0"/>
            </dgm:if>
            <dgm:else name="Name16">
              <dgm:presOf axis="ch desOrSelf" ptType="node node" st="2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17"/>
    </dgm:choose>
    <dgm:choose name="Name18">
      <dgm:if name="Name19" axis="ch" ptType="node" func="cnt" op="gte" val="5">
        <dgm:layoutNode name="triangle5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choose name="Name20">
            <dgm:if name="Name21" func="var" arg="dir" op="equ" val="norm">
              <dgm:presOf axis="ch desOrSelf" ptType="node node" st="5 1" cnt="1 0"/>
            </dgm:if>
            <dgm:else name="Name22">
              <dgm:presOf axis="ch desOrSelf" ptType="node node" st="9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6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rot="180" type="triangle" r:blip="">
            <dgm:adjLst/>
          </dgm:shape>
          <dgm:choose name="Name23">
            <dgm:if name="Name24" func="var" arg="dir" op="equ" val="norm">
              <dgm:presOf axis="ch desOrSelf" ptType="node node" st="6 1" cnt="1 0"/>
            </dgm:if>
            <dgm:else name="Name25">
              <dgm:presOf axis="ch desOrSelf" ptType="node node" st="8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7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presOf axis="ch desOrSelf" ptType="node node" st="7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8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rot="180" type="triangle" r:blip="">
            <dgm:adjLst/>
          </dgm:shape>
          <dgm:choose name="Name26">
            <dgm:if name="Name27" func="var" arg="dir" op="equ" val="norm">
              <dgm:presOf axis="ch desOrSelf" ptType="node node" st="8 1" cnt="1 0"/>
            </dgm:if>
            <dgm:else name="Name28">
              <dgm:presOf axis="ch desOrSelf" ptType="node node" st="6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9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choose name="Name29">
            <dgm:if name="Name30" func="var" arg="dir" op="equ" val="norm">
              <dgm:presOf axis="ch desOrSelf" ptType="node node" st="9 1" cnt="1 0"/>
            </dgm:if>
            <dgm:else name="Name31">
              <dgm:presOf axis="ch desOrSelf" ptType="node node" st="5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32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w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w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w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89CD579-AA73-48B2-ADA4-06A07CB1DC49}" type="datetimeFigureOut">
              <a:rPr lang="en-US" smtClean="0"/>
              <a:t>11/17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31E8B91-197F-4342-B437-BD7E7C33C10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122909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E9050A4-ADF8-41FD-9C6F-40EF2383038D}" type="datetimeFigureOut">
              <a:rPr lang="en-US" smtClean="0"/>
              <a:t>11/17/20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77A57D-AB2F-4A30-BDC1-F2311020117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7384573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1pPr>
    <a:lvl2pPr marL="389582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779163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1168745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1558326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1947908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6pPr>
    <a:lvl7pPr marL="2337489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7pPr>
    <a:lvl8pPr marL="2727071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8pPr>
    <a:lvl9pPr marL="3116652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85800" y="342900"/>
            <a:ext cx="5486400" cy="41148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685800" y="4572000"/>
            <a:ext cx="5486400" cy="3886200"/>
          </a:xfrm>
        </p:spPr>
        <p:txBody>
          <a:bodyPr/>
          <a:lstStyle/>
          <a:p>
            <a:endParaRPr lang="en-AU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A44FAA9-51FA-4F6B-AC6F-9EF5239E7D33}" type="slidenum">
              <a:rPr lang="de-DE" smtClean="0">
                <a:solidFill>
                  <a:prstClr val="black"/>
                </a:solidFill>
              </a:rPr>
              <a:pPr>
                <a:defRPr/>
              </a:pPr>
              <a:t>1</a:t>
            </a:fld>
            <a:endParaRPr lang="de-DE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879822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54866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8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4.vml"/><Relationship Id="rId5" Type="http://schemas.openxmlformats.org/officeDocument/2006/relationships/oleObject" Target="../embeddings/oleObject4.bin"/><Relationship Id="rId4" Type="http://schemas.openxmlformats.org/officeDocument/2006/relationships/image" Target="../media/image3.jpe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4" Type="http://schemas.openxmlformats.org/officeDocument/2006/relationships/oleObject" Target="../embeddings/oleObject5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5" Type="http://schemas.openxmlformats.org/officeDocument/2006/relationships/oleObject" Target="../embeddings/oleObject6.bin"/><Relationship Id="rId4" Type="http://schemas.openxmlformats.org/officeDocument/2006/relationships/image" Target="../media/image8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tags" Target="../tags/tag4.xml"/><Relationship Id="rId7" Type="http://schemas.openxmlformats.org/officeDocument/2006/relationships/image" Target="../media/image4.png"/><Relationship Id="rId12" Type="http://schemas.openxmlformats.org/officeDocument/2006/relationships/image" Target="../media/image7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eg"/><Relationship Id="rId11" Type="http://schemas.openxmlformats.org/officeDocument/2006/relationships/oleObject" Target="../embeddings/oleObject2.bin"/><Relationship Id="rId5" Type="http://schemas.openxmlformats.org/officeDocument/2006/relationships/slideMaster" Target="../slideMasters/slideMaster2.xml"/><Relationship Id="rId10" Type="http://schemas.openxmlformats.org/officeDocument/2006/relationships/image" Target="../media/image6.png"/><Relationship Id="rId4" Type="http://schemas.openxmlformats.org/officeDocument/2006/relationships/tags" Target="../tags/tag5.xml"/><Relationship Id="rId9" Type="http://schemas.openxmlformats.org/officeDocument/2006/relationships/image" Target="../media/image5.pn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5420993"/>
              </p:ext>
            </p:extLst>
          </p:nvPr>
        </p:nvGraphicFramePr>
        <p:xfrm>
          <a:off x="1469" y="1590"/>
          <a:ext cx="1465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69" y="1590"/>
                        <a:ext cx="1465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2" name="Picture 61" descr="Pencils_Crop.jpg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harpenSoften amount="25000"/>
                    </a14:imgEffect>
                    <a14:imgEffect>
                      <a14:brightnessContrast bright="-5000" contrast="25000"/>
                    </a14:imgEffect>
                  </a14:imgLayer>
                </a14:imgProps>
              </a:ext>
            </a:extLst>
          </a:blip>
          <a:srcRect b="3069"/>
          <a:stretch/>
        </p:blipFill>
        <p:spPr>
          <a:xfrm>
            <a:off x="4" y="-1"/>
            <a:ext cx="9144000" cy="685800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435220" y="2186500"/>
            <a:ext cx="4136780" cy="861774"/>
          </a:xfrm>
        </p:spPr>
        <p:txBody>
          <a:bodyPr wrap="square" anchor="t" anchorCtr="0">
            <a:spAutoFit/>
          </a:bodyPr>
          <a:lstStyle>
            <a:lvl1pPr>
              <a:defRPr sz="280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435220" y="4020364"/>
            <a:ext cx="4136780" cy="276999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3895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1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7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3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79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4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70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66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grpSp>
        <p:nvGrpSpPr>
          <p:cNvPr id="27" name="Group 26"/>
          <p:cNvGrpSpPr/>
          <p:nvPr userDrawn="1"/>
        </p:nvGrpSpPr>
        <p:grpSpPr>
          <a:xfrm>
            <a:off x="5672971" y="1548000"/>
            <a:ext cx="3078601" cy="2072080"/>
            <a:chOff x="2128838" y="461963"/>
            <a:chExt cx="3394075" cy="2284412"/>
          </a:xfrm>
          <a:solidFill>
            <a:srgbClr val="FF0000"/>
          </a:solidFill>
        </p:grpSpPr>
        <p:sp>
          <p:nvSpPr>
            <p:cNvPr id="28" name="Freeform 24"/>
            <p:cNvSpPr>
              <a:spLocks/>
            </p:cNvSpPr>
            <p:nvPr userDrawn="1"/>
          </p:nvSpPr>
          <p:spPr bwMode="auto">
            <a:xfrm>
              <a:off x="2635251" y="461963"/>
              <a:ext cx="2239963" cy="228441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2559"/>
                </a:cxn>
                <a:cxn ang="0">
                  <a:pos x="81" y="2591"/>
                </a:cxn>
                <a:cxn ang="0">
                  <a:pos x="313" y="2681"/>
                </a:cxn>
                <a:cxn ang="0">
                  <a:pos x="676" y="2821"/>
                </a:cxn>
                <a:cxn ang="0">
                  <a:pos x="1148" y="3003"/>
                </a:cxn>
                <a:cxn ang="0">
                  <a:pos x="1712" y="3222"/>
                </a:cxn>
                <a:cxn ang="0">
                  <a:pos x="2347" y="3468"/>
                </a:cxn>
                <a:cxn ang="0">
                  <a:pos x="3034" y="3734"/>
                </a:cxn>
                <a:cxn ang="0">
                  <a:pos x="3752" y="4013"/>
                </a:cxn>
                <a:cxn ang="0">
                  <a:pos x="4483" y="4296"/>
                </a:cxn>
                <a:cxn ang="0">
                  <a:pos x="5206" y="4576"/>
                </a:cxn>
                <a:cxn ang="0">
                  <a:pos x="5902" y="4846"/>
                </a:cxn>
                <a:cxn ang="0">
                  <a:pos x="6551" y="5097"/>
                </a:cxn>
                <a:cxn ang="0">
                  <a:pos x="7133" y="5323"/>
                </a:cxn>
                <a:cxn ang="0">
                  <a:pos x="7629" y="5515"/>
                </a:cxn>
                <a:cxn ang="0">
                  <a:pos x="8018" y="5667"/>
                </a:cxn>
                <a:cxn ang="0">
                  <a:pos x="8283" y="5769"/>
                </a:cxn>
                <a:cxn ang="0">
                  <a:pos x="8018" y="5871"/>
                </a:cxn>
                <a:cxn ang="0">
                  <a:pos x="7629" y="6020"/>
                </a:cxn>
                <a:cxn ang="0">
                  <a:pos x="7133" y="6211"/>
                </a:cxn>
                <a:cxn ang="0">
                  <a:pos x="6551" y="6435"/>
                </a:cxn>
                <a:cxn ang="0">
                  <a:pos x="5902" y="6685"/>
                </a:cxn>
                <a:cxn ang="0">
                  <a:pos x="5206" y="6953"/>
                </a:cxn>
                <a:cxn ang="0">
                  <a:pos x="4483" y="7231"/>
                </a:cxn>
                <a:cxn ang="0">
                  <a:pos x="3752" y="7513"/>
                </a:cxn>
                <a:cxn ang="0">
                  <a:pos x="3034" y="7790"/>
                </a:cxn>
                <a:cxn ang="0">
                  <a:pos x="2347" y="8055"/>
                </a:cxn>
                <a:cxn ang="0">
                  <a:pos x="1712" y="8299"/>
                </a:cxn>
                <a:cxn ang="0">
                  <a:pos x="1148" y="8516"/>
                </a:cxn>
                <a:cxn ang="0">
                  <a:pos x="676" y="8698"/>
                </a:cxn>
                <a:cxn ang="0">
                  <a:pos x="313" y="8838"/>
                </a:cxn>
                <a:cxn ang="0">
                  <a:pos x="81" y="8928"/>
                </a:cxn>
                <a:cxn ang="0">
                  <a:pos x="0" y="8959"/>
                </a:cxn>
                <a:cxn ang="0">
                  <a:pos x="0" y="11512"/>
                </a:cxn>
                <a:cxn ang="0">
                  <a:pos x="11285" y="6931"/>
                </a:cxn>
                <a:cxn ang="0">
                  <a:pos x="11285" y="4588"/>
                </a:cxn>
                <a:cxn ang="0">
                  <a:pos x="0" y="0"/>
                </a:cxn>
              </a:cxnLst>
              <a:rect l="0" t="0" r="r" b="b"/>
              <a:pathLst>
                <a:path w="11285" h="11512">
                  <a:moveTo>
                    <a:pt x="0" y="0"/>
                  </a:moveTo>
                  <a:lnTo>
                    <a:pt x="0" y="2559"/>
                  </a:lnTo>
                  <a:lnTo>
                    <a:pt x="81" y="2591"/>
                  </a:lnTo>
                  <a:lnTo>
                    <a:pt x="313" y="2681"/>
                  </a:lnTo>
                  <a:lnTo>
                    <a:pt x="676" y="2821"/>
                  </a:lnTo>
                  <a:lnTo>
                    <a:pt x="1148" y="3003"/>
                  </a:lnTo>
                  <a:lnTo>
                    <a:pt x="1712" y="3222"/>
                  </a:lnTo>
                  <a:lnTo>
                    <a:pt x="2347" y="3468"/>
                  </a:lnTo>
                  <a:lnTo>
                    <a:pt x="3034" y="3734"/>
                  </a:lnTo>
                  <a:lnTo>
                    <a:pt x="3752" y="4013"/>
                  </a:lnTo>
                  <a:lnTo>
                    <a:pt x="4483" y="4296"/>
                  </a:lnTo>
                  <a:lnTo>
                    <a:pt x="5206" y="4576"/>
                  </a:lnTo>
                  <a:lnTo>
                    <a:pt x="5902" y="4846"/>
                  </a:lnTo>
                  <a:lnTo>
                    <a:pt x="6551" y="5097"/>
                  </a:lnTo>
                  <a:lnTo>
                    <a:pt x="7133" y="5323"/>
                  </a:lnTo>
                  <a:lnTo>
                    <a:pt x="7629" y="5515"/>
                  </a:lnTo>
                  <a:lnTo>
                    <a:pt x="8018" y="5667"/>
                  </a:lnTo>
                  <a:lnTo>
                    <a:pt x="8283" y="5769"/>
                  </a:lnTo>
                  <a:lnTo>
                    <a:pt x="8018" y="5871"/>
                  </a:lnTo>
                  <a:lnTo>
                    <a:pt x="7629" y="6020"/>
                  </a:lnTo>
                  <a:lnTo>
                    <a:pt x="7133" y="6211"/>
                  </a:lnTo>
                  <a:lnTo>
                    <a:pt x="6551" y="6435"/>
                  </a:lnTo>
                  <a:lnTo>
                    <a:pt x="5902" y="6685"/>
                  </a:lnTo>
                  <a:lnTo>
                    <a:pt x="5206" y="6953"/>
                  </a:lnTo>
                  <a:lnTo>
                    <a:pt x="4483" y="7231"/>
                  </a:lnTo>
                  <a:lnTo>
                    <a:pt x="3752" y="7513"/>
                  </a:lnTo>
                  <a:lnTo>
                    <a:pt x="3034" y="7790"/>
                  </a:lnTo>
                  <a:lnTo>
                    <a:pt x="2347" y="8055"/>
                  </a:lnTo>
                  <a:lnTo>
                    <a:pt x="1712" y="8299"/>
                  </a:lnTo>
                  <a:lnTo>
                    <a:pt x="1148" y="8516"/>
                  </a:lnTo>
                  <a:lnTo>
                    <a:pt x="676" y="8698"/>
                  </a:lnTo>
                  <a:lnTo>
                    <a:pt x="313" y="8838"/>
                  </a:lnTo>
                  <a:lnTo>
                    <a:pt x="81" y="8928"/>
                  </a:lnTo>
                  <a:lnTo>
                    <a:pt x="0" y="8959"/>
                  </a:lnTo>
                  <a:lnTo>
                    <a:pt x="0" y="11512"/>
                  </a:lnTo>
                  <a:lnTo>
                    <a:pt x="11285" y="6931"/>
                  </a:lnTo>
                  <a:lnTo>
                    <a:pt x="11285" y="458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B0F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pt-B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charset="0"/>
              </a:endParaRPr>
            </a:p>
          </p:txBody>
        </p:sp>
        <p:sp>
          <p:nvSpPr>
            <p:cNvPr id="29" name="Freeform 25"/>
            <p:cNvSpPr>
              <a:spLocks noEditPoints="1"/>
            </p:cNvSpPr>
            <p:nvPr userDrawn="1"/>
          </p:nvSpPr>
          <p:spPr bwMode="auto">
            <a:xfrm>
              <a:off x="2128838" y="1393825"/>
              <a:ext cx="3394075" cy="277812"/>
            </a:xfrm>
            <a:custGeom>
              <a:avLst/>
              <a:gdLst/>
              <a:ahLst/>
              <a:cxnLst>
                <a:cxn ang="0">
                  <a:pos x="16486" y="450"/>
                </a:cxn>
                <a:cxn ang="0">
                  <a:pos x="16365" y="970"/>
                </a:cxn>
                <a:cxn ang="0">
                  <a:pos x="16152" y="901"/>
                </a:cxn>
                <a:cxn ang="0">
                  <a:pos x="16524" y="371"/>
                </a:cxn>
                <a:cxn ang="0">
                  <a:pos x="15616" y="541"/>
                </a:cxn>
                <a:cxn ang="0">
                  <a:pos x="15468" y="647"/>
                </a:cxn>
                <a:cxn ang="0">
                  <a:pos x="15987" y="442"/>
                </a:cxn>
                <a:cxn ang="0">
                  <a:pos x="15987" y="968"/>
                </a:cxn>
                <a:cxn ang="0">
                  <a:pos x="15193" y="613"/>
                </a:cxn>
                <a:cxn ang="0">
                  <a:pos x="14482" y="558"/>
                </a:cxn>
                <a:cxn ang="0">
                  <a:pos x="14342" y="595"/>
                </a:cxn>
                <a:cxn ang="0">
                  <a:pos x="14868" y="465"/>
                </a:cxn>
                <a:cxn ang="0">
                  <a:pos x="14882" y="1069"/>
                </a:cxn>
                <a:cxn ang="0">
                  <a:pos x="12579" y="445"/>
                </a:cxn>
                <a:cxn ang="0">
                  <a:pos x="12377" y="881"/>
                </a:cxn>
                <a:cxn ang="0">
                  <a:pos x="12771" y="356"/>
                </a:cxn>
                <a:cxn ang="0">
                  <a:pos x="12667" y="973"/>
                </a:cxn>
                <a:cxn ang="0">
                  <a:pos x="12062" y="487"/>
                </a:cxn>
                <a:cxn ang="0">
                  <a:pos x="12101" y="119"/>
                </a:cxn>
                <a:cxn ang="0">
                  <a:pos x="11876" y="1071"/>
                </a:cxn>
                <a:cxn ang="0">
                  <a:pos x="10132" y="565"/>
                </a:cxn>
                <a:cxn ang="0">
                  <a:pos x="9997" y="571"/>
                </a:cxn>
                <a:cxn ang="0">
                  <a:pos x="10525" y="478"/>
                </a:cxn>
                <a:cxn ang="0">
                  <a:pos x="9878" y="1066"/>
                </a:cxn>
                <a:cxn ang="0">
                  <a:pos x="9335" y="543"/>
                </a:cxn>
                <a:cxn ang="0">
                  <a:pos x="9878" y="493"/>
                </a:cxn>
                <a:cxn ang="0">
                  <a:pos x="9508" y="838"/>
                </a:cxn>
                <a:cxn ang="0">
                  <a:pos x="8928" y="334"/>
                </a:cxn>
                <a:cxn ang="0">
                  <a:pos x="8979" y="473"/>
                </a:cxn>
                <a:cxn ang="0">
                  <a:pos x="8049" y="851"/>
                </a:cxn>
                <a:cxn ang="0">
                  <a:pos x="8269" y="1010"/>
                </a:cxn>
                <a:cxn ang="0">
                  <a:pos x="8031" y="698"/>
                </a:cxn>
                <a:cxn ang="0">
                  <a:pos x="7919" y="484"/>
                </a:cxn>
                <a:cxn ang="0">
                  <a:pos x="8417" y="488"/>
                </a:cxn>
                <a:cxn ang="0">
                  <a:pos x="7339" y="483"/>
                </a:cxn>
                <a:cxn ang="0">
                  <a:pos x="7608" y="587"/>
                </a:cxn>
                <a:cxn ang="0">
                  <a:pos x="7191" y="509"/>
                </a:cxn>
                <a:cxn ang="0">
                  <a:pos x="6512" y="415"/>
                </a:cxn>
                <a:cxn ang="0">
                  <a:pos x="6330" y="346"/>
                </a:cxn>
                <a:cxn ang="0">
                  <a:pos x="5904" y="440"/>
                </a:cxn>
                <a:cxn ang="0">
                  <a:pos x="5804" y="975"/>
                </a:cxn>
                <a:cxn ang="0">
                  <a:pos x="6008" y="355"/>
                </a:cxn>
                <a:cxn ang="0">
                  <a:pos x="6038" y="1051"/>
                </a:cxn>
                <a:cxn ang="0">
                  <a:pos x="5132" y="346"/>
                </a:cxn>
                <a:cxn ang="0">
                  <a:pos x="5413" y="107"/>
                </a:cxn>
                <a:cxn ang="0">
                  <a:pos x="4898" y="328"/>
                </a:cxn>
                <a:cxn ang="0">
                  <a:pos x="4205" y="449"/>
                </a:cxn>
                <a:cxn ang="0">
                  <a:pos x="3973" y="1015"/>
                </a:cxn>
                <a:cxn ang="0">
                  <a:pos x="4148" y="328"/>
                </a:cxn>
                <a:cxn ang="0">
                  <a:pos x="4064" y="896"/>
                </a:cxn>
                <a:cxn ang="0">
                  <a:pos x="3597" y="667"/>
                </a:cxn>
                <a:cxn ang="0">
                  <a:pos x="3297" y="761"/>
                </a:cxn>
                <a:cxn ang="0">
                  <a:pos x="3562" y="336"/>
                </a:cxn>
                <a:cxn ang="0">
                  <a:pos x="3626" y="1051"/>
                </a:cxn>
                <a:cxn ang="0">
                  <a:pos x="2262" y="347"/>
                </a:cxn>
                <a:cxn ang="0">
                  <a:pos x="2379" y="484"/>
                </a:cxn>
                <a:cxn ang="0">
                  <a:pos x="1599" y="920"/>
                </a:cxn>
                <a:cxn ang="0">
                  <a:pos x="1395" y="511"/>
                </a:cxn>
                <a:cxn ang="0">
                  <a:pos x="1735" y="1315"/>
                </a:cxn>
                <a:cxn ang="0">
                  <a:pos x="1584" y="1267"/>
                </a:cxn>
                <a:cxn ang="0">
                  <a:pos x="1305" y="1020"/>
                </a:cxn>
                <a:cxn ang="0">
                  <a:pos x="1489" y="330"/>
                </a:cxn>
              </a:cxnLst>
              <a:rect l="0" t="0" r="r" b="b"/>
              <a:pathLst>
                <a:path w="17104" h="1404">
                  <a:moveTo>
                    <a:pt x="16892" y="864"/>
                  </a:moveTo>
                  <a:lnTo>
                    <a:pt x="17104" y="864"/>
                  </a:lnTo>
                  <a:lnTo>
                    <a:pt x="17104" y="1076"/>
                  </a:lnTo>
                  <a:lnTo>
                    <a:pt x="16892" y="1076"/>
                  </a:lnTo>
                  <a:lnTo>
                    <a:pt x="16892" y="864"/>
                  </a:lnTo>
                  <a:close/>
                  <a:moveTo>
                    <a:pt x="16427" y="986"/>
                  </a:moveTo>
                  <a:lnTo>
                    <a:pt x="16437" y="984"/>
                  </a:lnTo>
                  <a:lnTo>
                    <a:pt x="16448" y="983"/>
                  </a:lnTo>
                  <a:lnTo>
                    <a:pt x="16456" y="981"/>
                  </a:lnTo>
                  <a:lnTo>
                    <a:pt x="16466" y="978"/>
                  </a:lnTo>
                  <a:lnTo>
                    <a:pt x="16474" y="975"/>
                  </a:lnTo>
                  <a:lnTo>
                    <a:pt x="16483" y="971"/>
                  </a:lnTo>
                  <a:lnTo>
                    <a:pt x="16491" y="965"/>
                  </a:lnTo>
                  <a:lnTo>
                    <a:pt x="16499" y="959"/>
                  </a:lnTo>
                  <a:lnTo>
                    <a:pt x="16506" y="952"/>
                  </a:lnTo>
                  <a:lnTo>
                    <a:pt x="16513" y="946"/>
                  </a:lnTo>
                  <a:lnTo>
                    <a:pt x="16520" y="939"/>
                  </a:lnTo>
                  <a:lnTo>
                    <a:pt x="16527" y="930"/>
                  </a:lnTo>
                  <a:lnTo>
                    <a:pt x="16537" y="912"/>
                  </a:lnTo>
                  <a:lnTo>
                    <a:pt x="16548" y="893"/>
                  </a:lnTo>
                  <a:lnTo>
                    <a:pt x="16557" y="872"/>
                  </a:lnTo>
                  <a:lnTo>
                    <a:pt x="16564" y="850"/>
                  </a:lnTo>
                  <a:lnTo>
                    <a:pt x="16571" y="827"/>
                  </a:lnTo>
                  <a:lnTo>
                    <a:pt x="16576" y="804"/>
                  </a:lnTo>
                  <a:lnTo>
                    <a:pt x="16580" y="779"/>
                  </a:lnTo>
                  <a:lnTo>
                    <a:pt x="16583" y="756"/>
                  </a:lnTo>
                  <a:lnTo>
                    <a:pt x="16584" y="732"/>
                  </a:lnTo>
                  <a:lnTo>
                    <a:pt x="16586" y="709"/>
                  </a:lnTo>
                  <a:lnTo>
                    <a:pt x="16584" y="685"/>
                  </a:lnTo>
                  <a:lnTo>
                    <a:pt x="16583" y="661"/>
                  </a:lnTo>
                  <a:lnTo>
                    <a:pt x="16581" y="636"/>
                  </a:lnTo>
                  <a:lnTo>
                    <a:pt x="16578" y="613"/>
                  </a:lnTo>
                  <a:lnTo>
                    <a:pt x="16573" y="589"/>
                  </a:lnTo>
                  <a:lnTo>
                    <a:pt x="16567" y="567"/>
                  </a:lnTo>
                  <a:lnTo>
                    <a:pt x="16560" y="545"/>
                  </a:lnTo>
                  <a:lnTo>
                    <a:pt x="16551" y="525"/>
                  </a:lnTo>
                  <a:lnTo>
                    <a:pt x="16547" y="515"/>
                  </a:lnTo>
                  <a:lnTo>
                    <a:pt x="16542" y="506"/>
                  </a:lnTo>
                  <a:lnTo>
                    <a:pt x="16535" y="497"/>
                  </a:lnTo>
                  <a:lnTo>
                    <a:pt x="16530" y="489"/>
                  </a:lnTo>
                  <a:lnTo>
                    <a:pt x="16524" y="481"/>
                  </a:lnTo>
                  <a:lnTo>
                    <a:pt x="16517" y="474"/>
                  </a:lnTo>
                  <a:lnTo>
                    <a:pt x="16510" y="467"/>
                  </a:lnTo>
                  <a:lnTo>
                    <a:pt x="16502" y="461"/>
                  </a:lnTo>
                  <a:lnTo>
                    <a:pt x="16495" y="456"/>
                  </a:lnTo>
                  <a:lnTo>
                    <a:pt x="16486" y="450"/>
                  </a:lnTo>
                  <a:lnTo>
                    <a:pt x="16476" y="446"/>
                  </a:lnTo>
                  <a:lnTo>
                    <a:pt x="16468" y="443"/>
                  </a:lnTo>
                  <a:lnTo>
                    <a:pt x="16457" y="440"/>
                  </a:lnTo>
                  <a:lnTo>
                    <a:pt x="16448" y="437"/>
                  </a:lnTo>
                  <a:lnTo>
                    <a:pt x="16437" y="436"/>
                  </a:lnTo>
                  <a:lnTo>
                    <a:pt x="16425" y="436"/>
                  </a:lnTo>
                  <a:lnTo>
                    <a:pt x="16416" y="436"/>
                  </a:lnTo>
                  <a:lnTo>
                    <a:pt x="16406" y="437"/>
                  </a:lnTo>
                  <a:lnTo>
                    <a:pt x="16397" y="439"/>
                  </a:lnTo>
                  <a:lnTo>
                    <a:pt x="16389" y="442"/>
                  </a:lnTo>
                  <a:lnTo>
                    <a:pt x="16380" y="445"/>
                  </a:lnTo>
                  <a:lnTo>
                    <a:pt x="16373" y="448"/>
                  </a:lnTo>
                  <a:lnTo>
                    <a:pt x="16364" y="452"/>
                  </a:lnTo>
                  <a:lnTo>
                    <a:pt x="16358" y="458"/>
                  </a:lnTo>
                  <a:lnTo>
                    <a:pt x="16351" y="463"/>
                  </a:lnTo>
                  <a:lnTo>
                    <a:pt x="16345" y="468"/>
                  </a:lnTo>
                  <a:lnTo>
                    <a:pt x="16339" y="475"/>
                  </a:lnTo>
                  <a:lnTo>
                    <a:pt x="16333" y="482"/>
                  </a:lnTo>
                  <a:lnTo>
                    <a:pt x="16323" y="498"/>
                  </a:lnTo>
                  <a:lnTo>
                    <a:pt x="16314" y="515"/>
                  </a:lnTo>
                  <a:lnTo>
                    <a:pt x="16305" y="536"/>
                  </a:lnTo>
                  <a:lnTo>
                    <a:pt x="16299" y="556"/>
                  </a:lnTo>
                  <a:lnTo>
                    <a:pt x="16294" y="578"/>
                  </a:lnTo>
                  <a:lnTo>
                    <a:pt x="16289" y="603"/>
                  </a:lnTo>
                  <a:lnTo>
                    <a:pt x="16286" y="629"/>
                  </a:lnTo>
                  <a:lnTo>
                    <a:pt x="16284" y="655"/>
                  </a:lnTo>
                  <a:lnTo>
                    <a:pt x="16283" y="682"/>
                  </a:lnTo>
                  <a:lnTo>
                    <a:pt x="16283" y="711"/>
                  </a:lnTo>
                  <a:lnTo>
                    <a:pt x="16283" y="732"/>
                  </a:lnTo>
                  <a:lnTo>
                    <a:pt x="16283" y="755"/>
                  </a:lnTo>
                  <a:lnTo>
                    <a:pt x="16285" y="777"/>
                  </a:lnTo>
                  <a:lnTo>
                    <a:pt x="16287" y="801"/>
                  </a:lnTo>
                  <a:lnTo>
                    <a:pt x="16289" y="823"/>
                  </a:lnTo>
                  <a:lnTo>
                    <a:pt x="16294" y="847"/>
                  </a:lnTo>
                  <a:lnTo>
                    <a:pt x="16299" y="868"/>
                  </a:lnTo>
                  <a:lnTo>
                    <a:pt x="16307" y="889"/>
                  </a:lnTo>
                  <a:lnTo>
                    <a:pt x="16310" y="900"/>
                  </a:lnTo>
                  <a:lnTo>
                    <a:pt x="16315" y="910"/>
                  </a:lnTo>
                  <a:lnTo>
                    <a:pt x="16319" y="919"/>
                  </a:lnTo>
                  <a:lnTo>
                    <a:pt x="16325" y="928"/>
                  </a:lnTo>
                  <a:lnTo>
                    <a:pt x="16330" y="936"/>
                  </a:lnTo>
                  <a:lnTo>
                    <a:pt x="16336" y="944"/>
                  </a:lnTo>
                  <a:lnTo>
                    <a:pt x="16343" y="951"/>
                  </a:lnTo>
                  <a:lnTo>
                    <a:pt x="16350" y="958"/>
                  </a:lnTo>
                  <a:lnTo>
                    <a:pt x="16358" y="964"/>
                  </a:lnTo>
                  <a:lnTo>
                    <a:pt x="16365" y="970"/>
                  </a:lnTo>
                  <a:lnTo>
                    <a:pt x="16374" y="974"/>
                  </a:lnTo>
                  <a:lnTo>
                    <a:pt x="16383" y="978"/>
                  </a:lnTo>
                  <a:lnTo>
                    <a:pt x="16393" y="981"/>
                  </a:lnTo>
                  <a:lnTo>
                    <a:pt x="16404" y="983"/>
                  </a:lnTo>
                  <a:lnTo>
                    <a:pt x="16416" y="984"/>
                  </a:lnTo>
                  <a:lnTo>
                    <a:pt x="16427" y="986"/>
                  </a:lnTo>
                  <a:close/>
                  <a:moveTo>
                    <a:pt x="16586" y="964"/>
                  </a:moveTo>
                  <a:lnTo>
                    <a:pt x="16582" y="964"/>
                  </a:lnTo>
                  <a:lnTo>
                    <a:pt x="16579" y="973"/>
                  </a:lnTo>
                  <a:lnTo>
                    <a:pt x="16574" y="981"/>
                  </a:lnTo>
                  <a:lnTo>
                    <a:pt x="16568" y="991"/>
                  </a:lnTo>
                  <a:lnTo>
                    <a:pt x="16562" y="1002"/>
                  </a:lnTo>
                  <a:lnTo>
                    <a:pt x="16553" y="1012"/>
                  </a:lnTo>
                  <a:lnTo>
                    <a:pt x="16545" y="1023"/>
                  </a:lnTo>
                  <a:lnTo>
                    <a:pt x="16534" y="1034"/>
                  </a:lnTo>
                  <a:lnTo>
                    <a:pt x="16522" y="1044"/>
                  </a:lnTo>
                  <a:lnTo>
                    <a:pt x="16510" y="1054"/>
                  </a:lnTo>
                  <a:lnTo>
                    <a:pt x="16496" y="1064"/>
                  </a:lnTo>
                  <a:lnTo>
                    <a:pt x="16480" y="1071"/>
                  </a:lnTo>
                  <a:lnTo>
                    <a:pt x="16463" y="1078"/>
                  </a:lnTo>
                  <a:lnTo>
                    <a:pt x="16444" y="1085"/>
                  </a:lnTo>
                  <a:lnTo>
                    <a:pt x="16424" y="1089"/>
                  </a:lnTo>
                  <a:lnTo>
                    <a:pt x="16403" y="1092"/>
                  </a:lnTo>
                  <a:lnTo>
                    <a:pt x="16379" y="1092"/>
                  </a:lnTo>
                  <a:lnTo>
                    <a:pt x="16363" y="1092"/>
                  </a:lnTo>
                  <a:lnTo>
                    <a:pt x="16347" y="1091"/>
                  </a:lnTo>
                  <a:lnTo>
                    <a:pt x="16332" y="1089"/>
                  </a:lnTo>
                  <a:lnTo>
                    <a:pt x="16317" y="1086"/>
                  </a:lnTo>
                  <a:lnTo>
                    <a:pt x="16303" y="1082"/>
                  </a:lnTo>
                  <a:lnTo>
                    <a:pt x="16289" y="1076"/>
                  </a:lnTo>
                  <a:lnTo>
                    <a:pt x="16278" y="1071"/>
                  </a:lnTo>
                  <a:lnTo>
                    <a:pt x="16265" y="1065"/>
                  </a:lnTo>
                  <a:lnTo>
                    <a:pt x="16253" y="1057"/>
                  </a:lnTo>
                  <a:lnTo>
                    <a:pt x="16242" y="1050"/>
                  </a:lnTo>
                  <a:lnTo>
                    <a:pt x="16232" y="1040"/>
                  </a:lnTo>
                  <a:lnTo>
                    <a:pt x="16222" y="1030"/>
                  </a:lnTo>
                  <a:lnTo>
                    <a:pt x="16212" y="1021"/>
                  </a:lnTo>
                  <a:lnTo>
                    <a:pt x="16204" y="1010"/>
                  </a:lnTo>
                  <a:lnTo>
                    <a:pt x="16195" y="998"/>
                  </a:lnTo>
                  <a:lnTo>
                    <a:pt x="16188" y="987"/>
                  </a:lnTo>
                  <a:lnTo>
                    <a:pt x="16180" y="974"/>
                  </a:lnTo>
                  <a:lnTo>
                    <a:pt x="16173" y="960"/>
                  </a:lnTo>
                  <a:lnTo>
                    <a:pt x="16166" y="946"/>
                  </a:lnTo>
                  <a:lnTo>
                    <a:pt x="16161" y="932"/>
                  </a:lnTo>
                  <a:lnTo>
                    <a:pt x="16156" y="917"/>
                  </a:lnTo>
                  <a:lnTo>
                    <a:pt x="16152" y="901"/>
                  </a:lnTo>
                  <a:lnTo>
                    <a:pt x="16147" y="885"/>
                  </a:lnTo>
                  <a:lnTo>
                    <a:pt x="16143" y="869"/>
                  </a:lnTo>
                  <a:lnTo>
                    <a:pt x="16137" y="835"/>
                  </a:lnTo>
                  <a:lnTo>
                    <a:pt x="16132" y="799"/>
                  </a:lnTo>
                  <a:lnTo>
                    <a:pt x="16130" y="761"/>
                  </a:lnTo>
                  <a:lnTo>
                    <a:pt x="16129" y="723"/>
                  </a:lnTo>
                  <a:lnTo>
                    <a:pt x="16129" y="700"/>
                  </a:lnTo>
                  <a:lnTo>
                    <a:pt x="16130" y="679"/>
                  </a:lnTo>
                  <a:lnTo>
                    <a:pt x="16131" y="658"/>
                  </a:lnTo>
                  <a:lnTo>
                    <a:pt x="16133" y="636"/>
                  </a:lnTo>
                  <a:lnTo>
                    <a:pt x="16135" y="616"/>
                  </a:lnTo>
                  <a:lnTo>
                    <a:pt x="16139" y="597"/>
                  </a:lnTo>
                  <a:lnTo>
                    <a:pt x="16142" y="577"/>
                  </a:lnTo>
                  <a:lnTo>
                    <a:pt x="16146" y="559"/>
                  </a:lnTo>
                  <a:lnTo>
                    <a:pt x="16150" y="541"/>
                  </a:lnTo>
                  <a:lnTo>
                    <a:pt x="16156" y="524"/>
                  </a:lnTo>
                  <a:lnTo>
                    <a:pt x="16161" y="508"/>
                  </a:lnTo>
                  <a:lnTo>
                    <a:pt x="16166" y="492"/>
                  </a:lnTo>
                  <a:lnTo>
                    <a:pt x="16174" y="476"/>
                  </a:lnTo>
                  <a:lnTo>
                    <a:pt x="16180" y="462"/>
                  </a:lnTo>
                  <a:lnTo>
                    <a:pt x="16188" y="448"/>
                  </a:lnTo>
                  <a:lnTo>
                    <a:pt x="16196" y="435"/>
                  </a:lnTo>
                  <a:lnTo>
                    <a:pt x="16204" y="422"/>
                  </a:lnTo>
                  <a:lnTo>
                    <a:pt x="16214" y="411"/>
                  </a:lnTo>
                  <a:lnTo>
                    <a:pt x="16223" y="400"/>
                  </a:lnTo>
                  <a:lnTo>
                    <a:pt x="16233" y="389"/>
                  </a:lnTo>
                  <a:lnTo>
                    <a:pt x="16242" y="380"/>
                  </a:lnTo>
                  <a:lnTo>
                    <a:pt x="16254" y="371"/>
                  </a:lnTo>
                  <a:lnTo>
                    <a:pt x="16265" y="364"/>
                  </a:lnTo>
                  <a:lnTo>
                    <a:pt x="16277" y="356"/>
                  </a:lnTo>
                  <a:lnTo>
                    <a:pt x="16289" y="350"/>
                  </a:lnTo>
                  <a:lnTo>
                    <a:pt x="16301" y="345"/>
                  </a:lnTo>
                  <a:lnTo>
                    <a:pt x="16315" y="339"/>
                  </a:lnTo>
                  <a:lnTo>
                    <a:pt x="16328" y="336"/>
                  </a:lnTo>
                  <a:lnTo>
                    <a:pt x="16343" y="333"/>
                  </a:lnTo>
                  <a:lnTo>
                    <a:pt x="16357" y="331"/>
                  </a:lnTo>
                  <a:lnTo>
                    <a:pt x="16372" y="328"/>
                  </a:lnTo>
                  <a:lnTo>
                    <a:pt x="16387" y="328"/>
                  </a:lnTo>
                  <a:lnTo>
                    <a:pt x="16409" y="330"/>
                  </a:lnTo>
                  <a:lnTo>
                    <a:pt x="16429" y="332"/>
                  </a:lnTo>
                  <a:lnTo>
                    <a:pt x="16449" y="336"/>
                  </a:lnTo>
                  <a:lnTo>
                    <a:pt x="16466" y="341"/>
                  </a:lnTo>
                  <a:lnTo>
                    <a:pt x="16483" y="348"/>
                  </a:lnTo>
                  <a:lnTo>
                    <a:pt x="16498" y="354"/>
                  </a:lnTo>
                  <a:lnTo>
                    <a:pt x="16512" y="363"/>
                  </a:lnTo>
                  <a:lnTo>
                    <a:pt x="16524" y="371"/>
                  </a:lnTo>
                  <a:lnTo>
                    <a:pt x="16535" y="381"/>
                  </a:lnTo>
                  <a:lnTo>
                    <a:pt x="16545" y="390"/>
                  </a:lnTo>
                  <a:lnTo>
                    <a:pt x="16553" y="400"/>
                  </a:lnTo>
                  <a:lnTo>
                    <a:pt x="16562" y="410"/>
                  </a:lnTo>
                  <a:lnTo>
                    <a:pt x="16568" y="420"/>
                  </a:lnTo>
                  <a:lnTo>
                    <a:pt x="16574" y="429"/>
                  </a:lnTo>
                  <a:lnTo>
                    <a:pt x="16578" y="439"/>
                  </a:lnTo>
                  <a:lnTo>
                    <a:pt x="16582" y="447"/>
                  </a:lnTo>
                  <a:lnTo>
                    <a:pt x="16586" y="447"/>
                  </a:lnTo>
                  <a:lnTo>
                    <a:pt x="16586" y="17"/>
                  </a:lnTo>
                  <a:lnTo>
                    <a:pt x="16723" y="17"/>
                  </a:lnTo>
                  <a:lnTo>
                    <a:pt x="16723" y="1076"/>
                  </a:lnTo>
                  <a:lnTo>
                    <a:pt x="16586" y="1076"/>
                  </a:lnTo>
                  <a:lnTo>
                    <a:pt x="16586" y="964"/>
                  </a:lnTo>
                  <a:close/>
                  <a:moveTo>
                    <a:pt x="15892" y="565"/>
                  </a:moveTo>
                  <a:lnTo>
                    <a:pt x="15892" y="556"/>
                  </a:lnTo>
                  <a:lnTo>
                    <a:pt x="15891" y="546"/>
                  </a:lnTo>
                  <a:lnTo>
                    <a:pt x="15889" y="536"/>
                  </a:lnTo>
                  <a:lnTo>
                    <a:pt x="15886" y="525"/>
                  </a:lnTo>
                  <a:lnTo>
                    <a:pt x="15882" y="514"/>
                  </a:lnTo>
                  <a:lnTo>
                    <a:pt x="15878" y="504"/>
                  </a:lnTo>
                  <a:lnTo>
                    <a:pt x="15871" y="493"/>
                  </a:lnTo>
                  <a:lnTo>
                    <a:pt x="15865" y="483"/>
                  </a:lnTo>
                  <a:lnTo>
                    <a:pt x="15856" y="474"/>
                  </a:lnTo>
                  <a:lnTo>
                    <a:pt x="15847" y="464"/>
                  </a:lnTo>
                  <a:lnTo>
                    <a:pt x="15836" y="457"/>
                  </a:lnTo>
                  <a:lnTo>
                    <a:pt x="15824" y="449"/>
                  </a:lnTo>
                  <a:lnTo>
                    <a:pt x="15811" y="444"/>
                  </a:lnTo>
                  <a:lnTo>
                    <a:pt x="15794" y="440"/>
                  </a:lnTo>
                  <a:lnTo>
                    <a:pt x="15777" y="436"/>
                  </a:lnTo>
                  <a:lnTo>
                    <a:pt x="15758" y="436"/>
                  </a:lnTo>
                  <a:lnTo>
                    <a:pt x="15747" y="436"/>
                  </a:lnTo>
                  <a:lnTo>
                    <a:pt x="15738" y="437"/>
                  </a:lnTo>
                  <a:lnTo>
                    <a:pt x="15728" y="439"/>
                  </a:lnTo>
                  <a:lnTo>
                    <a:pt x="15720" y="441"/>
                  </a:lnTo>
                  <a:lnTo>
                    <a:pt x="15703" y="445"/>
                  </a:lnTo>
                  <a:lnTo>
                    <a:pt x="15688" y="451"/>
                  </a:lnTo>
                  <a:lnTo>
                    <a:pt x="15674" y="459"/>
                  </a:lnTo>
                  <a:lnTo>
                    <a:pt x="15662" y="468"/>
                  </a:lnTo>
                  <a:lnTo>
                    <a:pt x="15652" y="478"/>
                  </a:lnTo>
                  <a:lnTo>
                    <a:pt x="15643" y="489"/>
                  </a:lnTo>
                  <a:lnTo>
                    <a:pt x="15635" y="499"/>
                  </a:lnTo>
                  <a:lnTo>
                    <a:pt x="15629" y="510"/>
                  </a:lnTo>
                  <a:lnTo>
                    <a:pt x="15623" y="521"/>
                  </a:lnTo>
                  <a:lnTo>
                    <a:pt x="15619" y="531"/>
                  </a:lnTo>
                  <a:lnTo>
                    <a:pt x="15616" y="541"/>
                  </a:lnTo>
                  <a:lnTo>
                    <a:pt x="15614" y="550"/>
                  </a:lnTo>
                  <a:lnTo>
                    <a:pt x="15613" y="558"/>
                  </a:lnTo>
                  <a:lnTo>
                    <a:pt x="15613" y="565"/>
                  </a:lnTo>
                  <a:lnTo>
                    <a:pt x="15892" y="565"/>
                  </a:lnTo>
                  <a:close/>
                  <a:moveTo>
                    <a:pt x="16014" y="1069"/>
                  </a:moveTo>
                  <a:lnTo>
                    <a:pt x="15991" y="1073"/>
                  </a:lnTo>
                  <a:lnTo>
                    <a:pt x="15971" y="1078"/>
                  </a:lnTo>
                  <a:lnTo>
                    <a:pt x="15951" y="1083"/>
                  </a:lnTo>
                  <a:lnTo>
                    <a:pt x="15929" y="1086"/>
                  </a:lnTo>
                  <a:lnTo>
                    <a:pt x="15908" y="1089"/>
                  </a:lnTo>
                  <a:lnTo>
                    <a:pt x="15884" y="1091"/>
                  </a:lnTo>
                  <a:lnTo>
                    <a:pt x="15859" y="1092"/>
                  </a:lnTo>
                  <a:lnTo>
                    <a:pt x="15831" y="1092"/>
                  </a:lnTo>
                  <a:lnTo>
                    <a:pt x="15811" y="1092"/>
                  </a:lnTo>
                  <a:lnTo>
                    <a:pt x="15790" y="1091"/>
                  </a:lnTo>
                  <a:lnTo>
                    <a:pt x="15771" y="1089"/>
                  </a:lnTo>
                  <a:lnTo>
                    <a:pt x="15752" y="1087"/>
                  </a:lnTo>
                  <a:lnTo>
                    <a:pt x="15734" y="1083"/>
                  </a:lnTo>
                  <a:lnTo>
                    <a:pt x="15715" y="1078"/>
                  </a:lnTo>
                  <a:lnTo>
                    <a:pt x="15697" y="1074"/>
                  </a:lnTo>
                  <a:lnTo>
                    <a:pt x="15681" y="1068"/>
                  </a:lnTo>
                  <a:lnTo>
                    <a:pt x="15664" y="1061"/>
                  </a:lnTo>
                  <a:lnTo>
                    <a:pt x="15649" y="1054"/>
                  </a:lnTo>
                  <a:lnTo>
                    <a:pt x="15633" y="1045"/>
                  </a:lnTo>
                  <a:lnTo>
                    <a:pt x="15619" y="1037"/>
                  </a:lnTo>
                  <a:lnTo>
                    <a:pt x="15605" y="1026"/>
                  </a:lnTo>
                  <a:lnTo>
                    <a:pt x="15591" y="1015"/>
                  </a:lnTo>
                  <a:lnTo>
                    <a:pt x="15579" y="1004"/>
                  </a:lnTo>
                  <a:lnTo>
                    <a:pt x="15567" y="992"/>
                  </a:lnTo>
                  <a:lnTo>
                    <a:pt x="15555" y="978"/>
                  </a:lnTo>
                  <a:lnTo>
                    <a:pt x="15544" y="964"/>
                  </a:lnTo>
                  <a:lnTo>
                    <a:pt x="15534" y="949"/>
                  </a:lnTo>
                  <a:lnTo>
                    <a:pt x="15525" y="933"/>
                  </a:lnTo>
                  <a:lnTo>
                    <a:pt x="15515" y="917"/>
                  </a:lnTo>
                  <a:lnTo>
                    <a:pt x="15508" y="899"/>
                  </a:lnTo>
                  <a:lnTo>
                    <a:pt x="15501" y="881"/>
                  </a:lnTo>
                  <a:lnTo>
                    <a:pt x="15494" y="862"/>
                  </a:lnTo>
                  <a:lnTo>
                    <a:pt x="15488" y="841"/>
                  </a:lnTo>
                  <a:lnTo>
                    <a:pt x="15482" y="821"/>
                  </a:lnTo>
                  <a:lnTo>
                    <a:pt x="15478" y="799"/>
                  </a:lnTo>
                  <a:lnTo>
                    <a:pt x="15475" y="776"/>
                  </a:lnTo>
                  <a:lnTo>
                    <a:pt x="15472" y="752"/>
                  </a:lnTo>
                  <a:lnTo>
                    <a:pt x="15469" y="727"/>
                  </a:lnTo>
                  <a:lnTo>
                    <a:pt x="15468" y="701"/>
                  </a:lnTo>
                  <a:lnTo>
                    <a:pt x="15468" y="676"/>
                  </a:lnTo>
                  <a:lnTo>
                    <a:pt x="15468" y="647"/>
                  </a:lnTo>
                  <a:lnTo>
                    <a:pt x="15471" y="620"/>
                  </a:lnTo>
                  <a:lnTo>
                    <a:pt x="15474" y="595"/>
                  </a:lnTo>
                  <a:lnTo>
                    <a:pt x="15477" y="571"/>
                  </a:lnTo>
                  <a:lnTo>
                    <a:pt x="15482" y="549"/>
                  </a:lnTo>
                  <a:lnTo>
                    <a:pt x="15488" y="527"/>
                  </a:lnTo>
                  <a:lnTo>
                    <a:pt x="15494" y="508"/>
                  </a:lnTo>
                  <a:lnTo>
                    <a:pt x="15502" y="489"/>
                  </a:lnTo>
                  <a:lnTo>
                    <a:pt x="15510" y="472"/>
                  </a:lnTo>
                  <a:lnTo>
                    <a:pt x="15519" y="457"/>
                  </a:lnTo>
                  <a:lnTo>
                    <a:pt x="15528" y="442"/>
                  </a:lnTo>
                  <a:lnTo>
                    <a:pt x="15538" y="428"/>
                  </a:lnTo>
                  <a:lnTo>
                    <a:pt x="15549" y="416"/>
                  </a:lnTo>
                  <a:lnTo>
                    <a:pt x="15559" y="404"/>
                  </a:lnTo>
                  <a:lnTo>
                    <a:pt x="15570" y="394"/>
                  </a:lnTo>
                  <a:lnTo>
                    <a:pt x="15582" y="384"/>
                  </a:lnTo>
                  <a:lnTo>
                    <a:pt x="15594" y="377"/>
                  </a:lnTo>
                  <a:lnTo>
                    <a:pt x="15606" y="368"/>
                  </a:lnTo>
                  <a:lnTo>
                    <a:pt x="15618" y="362"/>
                  </a:lnTo>
                  <a:lnTo>
                    <a:pt x="15631" y="356"/>
                  </a:lnTo>
                  <a:lnTo>
                    <a:pt x="15643" y="351"/>
                  </a:lnTo>
                  <a:lnTo>
                    <a:pt x="15656" y="346"/>
                  </a:lnTo>
                  <a:lnTo>
                    <a:pt x="15668" y="342"/>
                  </a:lnTo>
                  <a:lnTo>
                    <a:pt x="15680" y="339"/>
                  </a:lnTo>
                  <a:lnTo>
                    <a:pt x="15704" y="334"/>
                  </a:lnTo>
                  <a:lnTo>
                    <a:pt x="15726" y="331"/>
                  </a:lnTo>
                  <a:lnTo>
                    <a:pt x="15747" y="328"/>
                  </a:lnTo>
                  <a:lnTo>
                    <a:pt x="15767" y="328"/>
                  </a:lnTo>
                  <a:lnTo>
                    <a:pt x="15783" y="328"/>
                  </a:lnTo>
                  <a:lnTo>
                    <a:pt x="15799" y="330"/>
                  </a:lnTo>
                  <a:lnTo>
                    <a:pt x="15814" y="332"/>
                  </a:lnTo>
                  <a:lnTo>
                    <a:pt x="15829" y="334"/>
                  </a:lnTo>
                  <a:lnTo>
                    <a:pt x="15843" y="337"/>
                  </a:lnTo>
                  <a:lnTo>
                    <a:pt x="15856" y="341"/>
                  </a:lnTo>
                  <a:lnTo>
                    <a:pt x="15870" y="346"/>
                  </a:lnTo>
                  <a:lnTo>
                    <a:pt x="15882" y="350"/>
                  </a:lnTo>
                  <a:lnTo>
                    <a:pt x="15895" y="356"/>
                  </a:lnTo>
                  <a:lnTo>
                    <a:pt x="15907" y="362"/>
                  </a:lnTo>
                  <a:lnTo>
                    <a:pt x="15917" y="369"/>
                  </a:lnTo>
                  <a:lnTo>
                    <a:pt x="15928" y="375"/>
                  </a:lnTo>
                  <a:lnTo>
                    <a:pt x="15938" y="384"/>
                  </a:lnTo>
                  <a:lnTo>
                    <a:pt x="15947" y="393"/>
                  </a:lnTo>
                  <a:lnTo>
                    <a:pt x="15957" y="401"/>
                  </a:lnTo>
                  <a:lnTo>
                    <a:pt x="15966" y="411"/>
                  </a:lnTo>
                  <a:lnTo>
                    <a:pt x="15973" y="420"/>
                  </a:lnTo>
                  <a:lnTo>
                    <a:pt x="15980" y="431"/>
                  </a:lnTo>
                  <a:lnTo>
                    <a:pt x="15987" y="442"/>
                  </a:lnTo>
                  <a:lnTo>
                    <a:pt x="15993" y="453"/>
                  </a:lnTo>
                  <a:lnTo>
                    <a:pt x="16000" y="465"/>
                  </a:lnTo>
                  <a:lnTo>
                    <a:pt x="16005" y="478"/>
                  </a:lnTo>
                  <a:lnTo>
                    <a:pt x="16009" y="490"/>
                  </a:lnTo>
                  <a:lnTo>
                    <a:pt x="16014" y="504"/>
                  </a:lnTo>
                  <a:lnTo>
                    <a:pt x="16018" y="517"/>
                  </a:lnTo>
                  <a:lnTo>
                    <a:pt x="16021" y="530"/>
                  </a:lnTo>
                  <a:lnTo>
                    <a:pt x="16024" y="545"/>
                  </a:lnTo>
                  <a:lnTo>
                    <a:pt x="16026" y="560"/>
                  </a:lnTo>
                  <a:lnTo>
                    <a:pt x="16030" y="590"/>
                  </a:lnTo>
                  <a:lnTo>
                    <a:pt x="16031" y="622"/>
                  </a:lnTo>
                  <a:lnTo>
                    <a:pt x="16031" y="656"/>
                  </a:lnTo>
                  <a:lnTo>
                    <a:pt x="15606" y="656"/>
                  </a:lnTo>
                  <a:lnTo>
                    <a:pt x="15607" y="683"/>
                  </a:lnTo>
                  <a:lnTo>
                    <a:pt x="15610" y="710"/>
                  </a:lnTo>
                  <a:lnTo>
                    <a:pt x="15614" y="738"/>
                  </a:lnTo>
                  <a:lnTo>
                    <a:pt x="15620" y="765"/>
                  </a:lnTo>
                  <a:lnTo>
                    <a:pt x="15625" y="780"/>
                  </a:lnTo>
                  <a:lnTo>
                    <a:pt x="15629" y="793"/>
                  </a:lnTo>
                  <a:lnTo>
                    <a:pt x="15633" y="807"/>
                  </a:lnTo>
                  <a:lnTo>
                    <a:pt x="15638" y="821"/>
                  </a:lnTo>
                  <a:lnTo>
                    <a:pt x="15645" y="834"/>
                  </a:lnTo>
                  <a:lnTo>
                    <a:pt x="15651" y="848"/>
                  </a:lnTo>
                  <a:lnTo>
                    <a:pt x="15659" y="861"/>
                  </a:lnTo>
                  <a:lnTo>
                    <a:pt x="15666" y="872"/>
                  </a:lnTo>
                  <a:lnTo>
                    <a:pt x="15675" y="884"/>
                  </a:lnTo>
                  <a:lnTo>
                    <a:pt x="15683" y="896"/>
                  </a:lnTo>
                  <a:lnTo>
                    <a:pt x="15693" y="908"/>
                  </a:lnTo>
                  <a:lnTo>
                    <a:pt x="15703" y="917"/>
                  </a:lnTo>
                  <a:lnTo>
                    <a:pt x="15713" y="928"/>
                  </a:lnTo>
                  <a:lnTo>
                    <a:pt x="15725" y="936"/>
                  </a:lnTo>
                  <a:lnTo>
                    <a:pt x="15737" y="945"/>
                  </a:lnTo>
                  <a:lnTo>
                    <a:pt x="15750" y="953"/>
                  </a:lnTo>
                  <a:lnTo>
                    <a:pt x="15762" y="961"/>
                  </a:lnTo>
                  <a:lnTo>
                    <a:pt x="15776" y="966"/>
                  </a:lnTo>
                  <a:lnTo>
                    <a:pt x="15791" y="973"/>
                  </a:lnTo>
                  <a:lnTo>
                    <a:pt x="15806" y="977"/>
                  </a:lnTo>
                  <a:lnTo>
                    <a:pt x="15822" y="980"/>
                  </a:lnTo>
                  <a:lnTo>
                    <a:pt x="15839" y="983"/>
                  </a:lnTo>
                  <a:lnTo>
                    <a:pt x="15858" y="984"/>
                  </a:lnTo>
                  <a:lnTo>
                    <a:pt x="15876" y="986"/>
                  </a:lnTo>
                  <a:lnTo>
                    <a:pt x="15898" y="984"/>
                  </a:lnTo>
                  <a:lnTo>
                    <a:pt x="15918" y="982"/>
                  </a:lnTo>
                  <a:lnTo>
                    <a:pt x="15938" y="980"/>
                  </a:lnTo>
                  <a:lnTo>
                    <a:pt x="15956" y="976"/>
                  </a:lnTo>
                  <a:lnTo>
                    <a:pt x="15987" y="968"/>
                  </a:lnTo>
                  <a:lnTo>
                    <a:pt x="16014" y="960"/>
                  </a:lnTo>
                  <a:lnTo>
                    <a:pt x="16014" y="1069"/>
                  </a:lnTo>
                  <a:close/>
                  <a:moveTo>
                    <a:pt x="15032" y="346"/>
                  </a:moveTo>
                  <a:lnTo>
                    <a:pt x="15170" y="346"/>
                  </a:lnTo>
                  <a:lnTo>
                    <a:pt x="15170" y="493"/>
                  </a:lnTo>
                  <a:lnTo>
                    <a:pt x="15173" y="493"/>
                  </a:lnTo>
                  <a:lnTo>
                    <a:pt x="15178" y="481"/>
                  </a:lnTo>
                  <a:lnTo>
                    <a:pt x="15182" y="470"/>
                  </a:lnTo>
                  <a:lnTo>
                    <a:pt x="15188" y="456"/>
                  </a:lnTo>
                  <a:lnTo>
                    <a:pt x="15196" y="443"/>
                  </a:lnTo>
                  <a:lnTo>
                    <a:pt x="15205" y="429"/>
                  </a:lnTo>
                  <a:lnTo>
                    <a:pt x="15215" y="415"/>
                  </a:lnTo>
                  <a:lnTo>
                    <a:pt x="15227" y="402"/>
                  </a:lnTo>
                  <a:lnTo>
                    <a:pt x="15240" y="388"/>
                  </a:lnTo>
                  <a:lnTo>
                    <a:pt x="15254" y="377"/>
                  </a:lnTo>
                  <a:lnTo>
                    <a:pt x="15270" y="365"/>
                  </a:lnTo>
                  <a:lnTo>
                    <a:pt x="15287" y="355"/>
                  </a:lnTo>
                  <a:lnTo>
                    <a:pt x="15305" y="346"/>
                  </a:lnTo>
                  <a:lnTo>
                    <a:pt x="15316" y="342"/>
                  </a:lnTo>
                  <a:lnTo>
                    <a:pt x="15326" y="339"/>
                  </a:lnTo>
                  <a:lnTo>
                    <a:pt x="15337" y="336"/>
                  </a:lnTo>
                  <a:lnTo>
                    <a:pt x="15349" y="333"/>
                  </a:lnTo>
                  <a:lnTo>
                    <a:pt x="15360" y="332"/>
                  </a:lnTo>
                  <a:lnTo>
                    <a:pt x="15372" y="330"/>
                  </a:lnTo>
                  <a:lnTo>
                    <a:pt x="15385" y="328"/>
                  </a:lnTo>
                  <a:lnTo>
                    <a:pt x="15399" y="328"/>
                  </a:lnTo>
                  <a:lnTo>
                    <a:pt x="15399" y="479"/>
                  </a:lnTo>
                  <a:lnTo>
                    <a:pt x="15375" y="480"/>
                  </a:lnTo>
                  <a:lnTo>
                    <a:pt x="15353" y="482"/>
                  </a:lnTo>
                  <a:lnTo>
                    <a:pt x="15332" y="487"/>
                  </a:lnTo>
                  <a:lnTo>
                    <a:pt x="15310" y="492"/>
                  </a:lnTo>
                  <a:lnTo>
                    <a:pt x="15301" y="496"/>
                  </a:lnTo>
                  <a:lnTo>
                    <a:pt x="15291" y="500"/>
                  </a:lnTo>
                  <a:lnTo>
                    <a:pt x="15281" y="506"/>
                  </a:lnTo>
                  <a:lnTo>
                    <a:pt x="15272" y="511"/>
                  </a:lnTo>
                  <a:lnTo>
                    <a:pt x="15263" y="517"/>
                  </a:lnTo>
                  <a:lnTo>
                    <a:pt x="15254" y="523"/>
                  </a:lnTo>
                  <a:lnTo>
                    <a:pt x="15246" y="530"/>
                  </a:lnTo>
                  <a:lnTo>
                    <a:pt x="15238" y="539"/>
                  </a:lnTo>
                  <a:lnTo>
                    <a:pt x="15230" y="547"/>
                  </a:lnTo>
                  <a:lnTo>
                    <a:pt x="15223" y="556"/>
                  </a:lnTo>
                  <a:lnTo>
                    <a:pt x="15216" y="566"/>
                  </a:lnTo>
                  <a:lnTo>
                    <a:pt x="15210" y="576"/>
                  </a:lnTo>
                  <a:lnTo>
                    <a:pt x="15203" y="588"/>
                  </a:lnTo>
                  <a:lnTo>
                    <a:pt x="15198" y="600"/>
                  </a:lnTo>
                  <a:lnTo>
                    <a:pt x="15193" y="613"/>
                  </a:lnTo>
                  <a:lnTo>
                    <a:pt x="15188" y="627"/>
                  </a:lnTo>
                  <a:lnTo>
                    <a:pt x="15184" y="642"/>
                  </a:lnTo>
                  <a:lnTo>
                    <a:pt x="15181" y="656"/>
                  </a:lnTo>
                  <a:lnTo>
                    <a:pt x="15178" y="673"/>
                  </a:lnTo>
                  <a:lnTo>
                    <a:pt x="15174" y="690"/>
                  </a:lnTo>
                  <a:lnTo>
                    <a:pt x="15172" y="707"/>
                  </a:lnTo>
                  <a:lnTo>
                    <a:pt x="15171" y="726"/>
                  </a:lnTo>
                  <a:lnTo>
                    <a:pt x="15170" y="745"/>
                  </a:lnTo>
                  <a:lnTo>
                    <a:pt x="15170" y="767"/>
                  </a:lnTo>
                  <a:lnTo>
                    <a:pt x="15170" y="1076"/>
                  </a:lnTo>
                  <a:lnTo>
                    <a:pt x="15032" y="1076"/>
                  </a:lnTo>
                  <a:lnTo>
                    <a:pt x="15032" y="346"/>
                  </a:lnTo>
                  <a:close/>
                  <a:moveTo>
                    <a:pt x="14761" y="565"/>
                  </a:moveTo>
                  <a:lnTo>
                    <a:pt x="14760" y="556"/>
                  </a:lnTo>
                  <a:lnTo>
                    <a:pt x="14759" y="546"/>
                  </a:lnTo>
                  <a:lnTo>
                    <a:pt x="14758" y="536"/>
                  </a:lnTo>
                  <a:lnTo>
                    <a:pt x="14754" y="525"/>
                  </a:lnTo>
                  <a:lnTo>
                    <a:pt x="14751" y="514"/>
                  </a:lnTo>
                  <a:lnTo>
                    <a:pt x="14746" y="504"/>
                  </a:lnTo>
                  <a:lnTo>
                    <a:pt x="14740" y="493"/>
                  </a:lnTo>
                  <a:lnTo>
                    <a:pt x="14733" y="483"/>
                  </a:lnTo>
                  <a:lnTo>
                    <a:pt x="14725" y="474"/>
                  </a:lnTo>
                  <a:lnTo>
                    <a:pt x="14716" y="464"/>
                  </a:lnTo>
                  <a:lnTo>
                    <a:pt x="14705" y="457"/>
                  </a:lnTo>
                  <a:lnTo>
                    <a:pt x="14692" y="449"/>
                  </a:lnTo>
                  <a:lnTo>
                    <a:pt x="14678" y="444"/>
                  </a:lnTo>
                  <a:lnTo>
                    <a:pt x="14663" y="440"/>
                  </a:lnTo>
                  <a:lnTo>
                    <a:pt x="14645" y="436"/>
                  </a:lnTo>
                  <a:lnTo>
                    <a:pt x="14627" y="436"/>
                  </a:lnTo>
                  <a:lnTo>
                    <a:pt x="14616" y="436"/>
                  </a:lnTo>
                  <a:lnTo>
                    <a:pt x="14607" y="437"/>
                  </a:lnTo>
                  <a:lnTo>
                    <a:pt x="14597" y="439"/>
                  </a:lnTo>
                  <a:lnTo>
                    <a:pt x="14588" y="441"/>
                  </a:lnTo>
                  <a:lnTo>
                    <a:pt x="14572" y="445"/>
                  </a:lnTo>
                  <a:lnTo>
                    <a:pt x="14557" y="451"/>
                  </a:lnTo>
                  <a:lnTo>
                    <a:pt x="14543" y="459"/>
                  </a:lnTo>
                  <a:lnTo>
                    <a:pt x="14531" y="468"/>
                  </a:lnTo>
                  <a:lnTo>
                    <a:pt x="14520" y="478"/>
                  </a:lnTo>
                  <a:lnTo>
                    <a:pt x="14512" y="489"/>
                  </a:lnTo>
                  <a:lnTo>
                    <a:pt x="14503" y="499"/>
                  </a:lnTo>
                  <a:lnTo>
                    <a:pt x="14497" y="510"/>
                  </a:lnTo>
                  <a:lnTo>
                    <a:pt x="14492" y="521"/>
                  </a:lnTo>
                  <a:lnTo>
                    <a:pt x="14488" y="531"/>
                  </a:lnTo>
                  <a:lnTo>
                    <a:pt x="14485" y="541"/>
                  </a:lnTo>
                  <a:lnTo>
                    <a:pt x="14483" y="550"/>
                  </a:lnTo>
                  <a:lnTo>
                    <a:pt x="14482" y="558"/>
                  </a:lnTo>
                  <a:lnTo>
                    <a:pt x="14481" y="565"/>
                  </a:lnTo>
                  <a:lnTo>
                    <a:pt x="14761" y="565"/>
                  </a:lnTo>
                  <a:close/>
                  <a:moveTo>
                    <a:pt x="14882" y="1069"/>
                  </a:moveTo>
                  <a:lnTo>
                    <a:pt x="14860" y="1073"/>
                  </a:lnTo>
                  <a:lnTo>
                    <a:pt x="14839" y="1078"/>
                  </a:lnTo>
                  <a:lnTo>
                    <a:pt x="14818" y="1083"/>
                  </a:lnTo>
                  <a:lnTo>
                    <a:pt x="14798" y="1086"/>
                  </a:lnTo>
                  <a:lnTo>
                    <a:pt x="14776" y="1089"/>
                  </a:lnTo>
                  <a:lnTo>
                    <a:pt x="14753" y="1091"/>
                  </a:lnTo>
                  <a:lnTo>
                    <a:pt x="14728" y="1092"/>
                  </a:lnTo>
                  <a:lnTo>
                    <a:pt x="14699" y="1092"/>
                  </a:lnTo>
                  <a:lnTo>
                    <a:pt x="14678" y="1092"/>
                  </a:lnTo>
                  <a:lnTo>
                    <a:pt x="14658" y="1091"/>
                  </a:lnTo>
                  <a:lnTo>
                    <a:pt x="14639" y="1089"/>
                  </a:lnTo>
                  <a:lnTo>
                    <a:pt x="14620" y="1087"/>
                  </a:lnTo>
                  <a:lnTo>
                    <a:pt x="14601" y="1083"/>
                  </a:lnTo>
                  <a:lnTo>
                    <a:pt x="14583" y="1078"/>
                  </a:lnTo>
                  <a:lnTo>
                    <a:pt x="14566" y="1074"/>
                  </a:lnTo>
                  <a:lnTo>
                    <a:pt x="14549" y="1068"/>
                  </a:lnTo>
                  <a:lnTo>
                    <a:pt x="14533" y="1061"/>
                  </a:lnTo>
                  <a:lnTo>
                    <a:pt x="14517" y="1054"/>
                  </a:lnTo>
                  <a:lnTo>
                    <a:pt x="14502" y="1045"/>
                  </a:lnTo>
                  <a:lnTo>
                    <a:pt x="14487" y="1037"/>
                  </a:lnTo>
                  <a:lnTo>
                    <a:pt x="14473" y="1026"/>
                  </a:lnTo>
                  <a:lnTo>
                    <a:pt x="14460" y="1015"/>
                  </a:lnTo>
                  <a:lnTo>
                    <a:pt x="14448" y="1004"/>
                  </a:lnTo>
                  <a:lnTo>
                    <a:pt x="14435" y="992"/>
                  </a:lnTo>
                  <a:lnTo>
                    <a:pt x="14424" y="978"/>
                  </a:lnTo>
                  <a:lnTo>
                    <a:pt x="14412" y="964"/>
                  </a:lnTo>
                  <a:lnTo>
                    <a:pt x="14403" y="949"/>
                  </a:lnTo>
                  <a:lnTo>
                    <a:pt x="14393" y="933"/>
                  </a:lnTo>
                  <a:lnTo>
                    <a:pt x="14384" y="917"/>
                  </a:lnTo>
                  <a:lnTo>
                    <a:pt x="14376" y="899"/>
                  </a:lnTo>
                  <a:lnTo>
                    <a:pt x="14368" y="881"/>
                  </a:lnTo>
                  <a:lnTo>
                    <a:pt x="14362" y="862"/>
                  </a:lnTo>
                  <a:lnTo>
                    <a:pt x="14357" y="841"/>
                  </a:lnTo>
                  <a:lnTo>
                    <a:pt x="14351" y="821"/>
                  </a:lnTo>
                  <a:lnTo>
                    <a:pt x="14347" y="799"/>
                  </a:lnTo>
                  <a:lnTo>
                    <a:pt x="14343" y="776"/>
                  </a:lnTo>
                  <a:lnTo>
                    <a:pt x="14341" y="752"/>
                  </a:lnTo>
                  <a:lnTo>
                    <a:pt x="14338" y="727"/>
                  </a:lnTo>
                  <a:lnTo>
                    <a:pt x="14337" y="701"/>
                  </a:lnTo>
                  <a:lnTo>
                    <a:pt x="14336" y="676"/>
                  </a:lnTo>
                  <a:lnTo>
                    <a:pt x="14337" y="647"/>
                  </a:lnTo>
                  <a:lnTo>
                    <a:pt x="14338" y="620"/>
                  </a:lnTo>
                  <a:lnTo>
                    <a:pt x="14342" y="595"/>
                  </a:lnTo>
                  <a:lnTo>
                    <a:pt x="14346" y="571"/>
                  </a:lnTo>
                  <a:lnTo>
                    <a:pt x="14350" y="549"/>
                  </a:lnTo>
                  <a:lnTo>
                    <a:pt x="14356" y="527"/>
                  </a:lnTo>
                  <a:lnTo>
                    <a:pt x="14363" y="508"/>
                  </a:lnTo>
                  <a:lnTo>
                    <a:pt x="14371" y="489"/>
                  </a:lnTo>
                  <a:lnTo>
                    <a:pt x="14378" y="472"/>
                  </a:lnTo>
                  <a:lnTo>
                    <a:pt x="14387" y="457"/>
                  </a:lnTo>
                  <a:lnTo>
                    <a:pt x="14396" y="442"/>
                  </a:lnTo>
                  <a:lnTo>
                    <a:pt x="14406" y="428"/>
                  </a:lnTo>
                  <a:lnTo>
                    <a:pt x="14417" y="416"/>
                  </a:lnTo>
                  <a:lnTo>
                    <a:pt x="14427" y="404"/>
                  </a:lnTo>
                  <a:lnTo>
                    <a:pt x="14439" y="394"/>
                  </a:lnTo>
                  <a:lnTo>
                    <a:pt x="14451" y="384"/>
                  </a:lnTo>
                  <a:lnTo>
                    <a:pt x="14463" y="377"/>
                  </a:lnTo>
                  <a:lnTo>
                    <a:pt x="14474" y="368"/>
                  </a:lnTo>
                  <a:lnTo>
                    <a:pt x="14487" y="362"/>
                  </a:lnTo>
                  <a:lnTo>
                    <a:pt x="14499" y="356"/>
                  </a:lnTo>
                  <a:lnTo>
                    <a:pt x="14512" y="351"/>
                  </a:lnTo>
                  <a:lnTo>
                    <a:pt x="14523" y="346"/>
                  </a:lnTo>
                  <a:lnTo>
                    <a:pt x="14536" y="342"/>
                  </a:lnTo>
                  <a:lnTo>
                    <a:pt x="14548" y="339"/>
                  </a:lnTo>
                  <a:lnTo>
                    <a:pt x="14573" y="334"/>
                  </a:lnTo>
                  <a:lnTo>
                    <a:pt x="14595" y="331"/>
                  </a:lnTo>
                  <a:lnTo>
                    <a:pt x="14615" y="328"/>
                  </a:lnTo>
                  <a:lnTo>
                    <a:pt x="14635" y="328"/>
                  </a:lnTo>
                  <a:lnTo>
                    <a:pt x="14651" y="328"/>
                  </a:lnTo>
                  <a:lnTo>
                    <a:pt x="14667" y="330"/>
                  </a:lnTo>
                  <a:lnTo>
                    <a:pt x="14683" y="332"/>
                  </a:lnTo>
                  <a:lnTo>
                    <a:pt x="14697" y="334"/>
                  </a:lnTo>
                  <a:lnTo>
                    <a:pt x="14712" y="337"/>
                  </a:lnTo>
                  <a:lnTo>
                    <a:pt x="14725" y="341"/>
                  </a:lnTo>
                  <a:lnTo>
                    <a:pt x="14738" y="346"/>
                  </a:lnTo>
                  <a:lnTo>
                    <a:pt x="14751" y="350"/>
                  </a:lnTo>
                  <a:lnTo>
                    <a:pt x="14763" y="356"/>
                  </a:lnTo>
                  <a:lnTo>
                    <a:pt x="14775" y="362"/>
                  </a:lnTo>
                  <a:lnTo>
                    <a:pt x="14786" y="369"/>
                  </a:lnTo>
                  <a:lnTo>
                    <a:pt x="14796" y="375"/>
                  </a:lnTo>
                  <a:lnTo>
                    <a:pt x="14807" y="384"/>
                  </a:lnTo>
                  <a:lnTo>
                    <a:pt x="14816" y="393"/>
                  </a:lnTo>
                  <a:lnTo>
                    <a:pt x="14825" y="401"/>
                  </a:lnTo>
                  <a:lnTo>
                    <a:pt x="14833" y="411"/>
                  </a:lnTo>
                  <a:lnTo>
                    <a:pt x="14841" y="420"/>
                  </a:lnTo>
                  <a:lnTo>
                    <a:pt x="14848" y="431"/>
                  </a:lnTo>
                  <a:lnTo>
                    <a:pt x="14856" y="442"/>
                  </a:lnTo>
                  <a:lnTo>
                    <a:pt x="14862" y="453"/>
                  </a:lnTo>
                  <a:lnTo>
                    <a:pt x="14868" y="465"/>
                  </a:lnTo>
                  <a:lnTo>
                    <a:pt x="14873" y="478"/>
                  </a:lnTo>
                  <a:lnTo>
                    <a:pt x="14878" y="490"/>
                  </a:lnTo>
                  <a:lnTo>
                    <a:pt x="14883" y="504"/>
                  </a:lnTo>
                  <a:lnTo>
                    <a:pt x="14887" y="517"/>
                  </a:lnTo>
                  <a:lnTo>
                    <a:pt x="14890" y="530"/>
                  </a:lnTo>
                  <a:lnTo>
                    <a:pt x="14892" y="545"/>
                  </a:lnTo>
                  <a:lnTo>
                    <a:pt x="14894" y="560"/>
                  </a:lnTo>
                  <a:lnTo>
                    <a:pt x="14898" y="590"/>
                  </a:lnTo>
                  <a:lnTo>
                    <a:pt x="14899" y="622"/>
                  </a:lnTo>
                  <a:lnTo>
                    <a:pt x="14899" y="656"/>
                  </a:lnTo>
                  <a:lnTo>
                    <a:pt x="14475" y="656"/>
                  </a:lnTo>
                  <a:lnTo>
                    <a:pt x="14475" y="683"/>
                  </a:lnTo>
                  <a:lnTo>
                    <a:pt x="14479" y="710"/>
                  </a:lnTo>
                  <a:lnTo>
                    <a:pt x="14483" y="738"/>
                  </a:lnTo>
                  <a:lnTo>
                    <a:pt x="14489" y="765"/>
                  </a:lnTo>
                  <a:lnTo>
                    <a:pt x="14492" y="780"/>
                  </a:lnTo>
                  <a:lnTo>
                    <a:pt x="14497" y="793"/>
                  </a:lnTo>
                  <a:lnTo>
                    <a:pt x="14502" y="807"/>
                  </a:lnTo>
                  <a:lnTo>
                    <a:pt x="14507" y="821"/>
                  </a:lnTo>
                  <a:lnTo>
                    <a:pt x="14513" y="834"/>
                  </a:lnTo>
                  <a:lnTo>
                    <a:pt x="14519" y="848"/>
                  </a:lnTo>
                  <a:lnTo>
                    <a:pt x="14527" y="861"/>
                  </a:lnTo>
                  <a:lnTo>
                    <a:pt x="14534" y="872"/>
                  </a:lnTo>
                  <a:lnTo>
                    <a:pt x="14543" y="884"/>
                  </a:lnTo>
                  <a:lnTo>
                    <a:pt x="14551" y="896"/>
                  </a:lnTo>
                  <a:lnTo>
                    <a:pt x="14561" y="908"/>
                  </a:lnTo>
                  <a:lnTo>
                    <a:pt x="14570" y="917"/>
                  </a:lnTo>
                  <a:lnTo>
                    <a:pt x="14581" y="928"/>
                  </a:lnTo>
                  <a:lnTo>
                    <a:pt x="14593" y="936"/>
                  </a:lnTo>
                  <a:lnTo>
                    <a:pt x="14605" y="945"/>
                  </a:lnTo>
                  <a:lnTo>
                    <a:pt x="14618" y="953"/>
                  </a:lnTo>
                  <a:lnTo>
                    <a:pt x="14630" y="961"/>
                  </a:lnTo>
                  <a:lnTo>
                    <a:pt x="14644" y="966"/>
                  </a:lnTo>
                  <a:lnTo>
                    <a:pt x="14659" y="973"/>
                  </a:lnTo>
                  <a:lnTo>
                    <a:pt x="14675" y="977"/>
                  </a:lnTo>
                  <a:lnTo>
                    <a:pt x="14691" y="980"/>
                  </a:lnTo>
                  <a:lnTo>
                    <a:pt x="14707" y="983"/>
                  </a:lnTo>
                  <a:lnTo>
                    <a:pt x="14725" y="984"/>
                  </a:lnTo>
                  <a:lnTo>
                    <a:pt x="14744" y="986"/>
                  </a:lnTo>
                  <a:lnTo>
                    <a:pt x="14766" y="984"/>
                  </a:lnTo>
                  <a:lnTo>
                    <a:pt x="14787" y="982"/>
                  </a:lnTo>
                  <a:lnTo>
                    <a:pt x="14807" y="980"/>
                  </a:lnTo>
                  <a:lnTo>
                    <a:pt x="14824" y="976"/>
                  </a:lnTo>
                  <a:lnTo>
                    <a:pt x="14856" y="968"/>
                  </a:lnTo>
                  <a:lnTo>
                    <a:pt x="14882" y="960"/>
                  </a:lnTo>
                  <a:lnTo>
                    <a:pt x="14882" y="1069"/>
                  </a:lnTo>
                  <a:close/>
                  <a:moveTo>
                    <a:pt x="13630" y="346"/>
                  </a:moveTo>
                  <a:lnTo>
                    <a:pt x="13783" y="346"/>
                  </a:lnTo>
                  <a:lnTo>
                    <a:pt x="13973" y="877"/>
                  </a:lnTo>
                  <a:lnTo>
                    <a:pt x="13976" y="877"/>
                  </a:lnTo>
                  <a:lnTo>
                    <a:pt x="14147" y="346"/>
                  </a:lnTo>
                  <a:lnTo>
                    <a:pt x="14300" y="346"/>
                  </a:lnTo>
                  <a:lnTo>
                    <a:pt x="14047" y="1076"/>
                  </a:lnTo>
                  <a:lnTo>
                    <a:pt x="13906" y="1076"/>
                  </a:lnTo>
                  <a:lnTo>
                    <a:pt x="13630" y="346"/>
                  </a:lnTo>
                  <a:close/>
                  <a:moveTo>
                    <a:pt x="13385" y="346"/>
                  </a:moveTo>
                  <a:lnTo>
                    <a:pt x="13523" y="346"/>
                  </a:lnTo>
                  <a:lnTo>
                    <a:pt x="13523" y="1076"/>
                  </a:lnTo>
                  <a:lnTo>
                    <a:pt x="13385" y="1076"/>
                  </a:lnTo>
                  <a:lnTo>
                    <a:pt x="13385" y="346"/>
                  </a:lnTo>
                  <a:close/>
                  <a:moveTo>
                    <a:pt x="13371" y="17"/>
                  </a:moveTo>
                  <a:lnTo>
                    <a:pt x="13537" y="17"/>
                  </a:lnTo>
                  <a:lnTo>
                    <a:pt x="13537" y="174"/>
                  </a:lnTo>
                  <a:lnTo>
                    <a:pt x="13371" y="174"/>
                  </a:lnTo>
                  <a:lnTo>
                    <a:pt x="13371" y="17"/>
                  </a:lnTo>
                  <a:close/>
                  <a:moveTo>
                    <a:pt x="13049" y="17"/>
                  </a:moveTo>
                  <a:lnTo>
                    <a:pt x="13187" y="17"/>
                  </a:lnTo>
                  <a:lnTo>
                    <a:pt x="13187" y="1076"/>
                  </a:lnTo>
                  <a:lnTo>
                    <a:pt x="13049" y="1076"/>
                  </a:lnTo>
                  <a:lnTo>
                    <a:pt x="13049" y="17"/>
                  </a:lnTo>
                  <a:close/>
                  <a:moveTo>
                    <a:pt x="12768" y="565"/>
                  </a:moveTo>
                  <a:lnTo>
                    <a:pt x="12768" y="556"/>
                  </a:lnTo>
                  <a:lnTo>
                    <a:pt x="12767" y="546"/>
                  </a:lnTo>
                  <a:lnTo>
                    <a:pt x="12765" y="536"/>
                  </a:lnTo>
                  <a:lnTo>
                    <a:pt x="12763" y="525"/>
                  </a:lnTo>
                  <a:lnTo>
                    <a:pt x="12759" y="514"/>
                  </a:lnTo>
                  <a:lnTo>
                    <a:pt x="12754" y="504"/>
                  </a:lnTo>
                  <a:lnTo>
                    <a:pt x="12748" y="493"/>
                  </a:lnTo>
                  <a:lnTo>
                    <a:pt x="12741" y="483"/>
                  </a:lnTo>
                  <a:lnTo>
                    <a:pt x="12733" y="474"/>
                  </a:lnTo>
                  <a:lnTo>
                    <a:pt x="12723" y="464"/>
                  </a:lnTo>
                  <a:lnTo>
                    <a:pt x="12713" y="457"/>
                  </a:lnTo>
                  <a:lnTo>
                    <a:pt x="12701" y="449"/>
                  </a:lnTo>
                  <a:lnTo>
                    <a:pt x="12687" y="444"/>
                  </a:lnTo>
                  <a:lnTo>
                    <a:pt x="12671" y="440"/>
                  </a:lnTo>
                  <a:lnTo>
                    <a:pt x="12654" y="436"/>
                  </a:lnTo>
                  <a:lnTo>
                    <a:pt x="12635" y="436"/>
                  </a:lnTo>
                  <a:lnTo>
                    <a:pt x="12624" y="436"/>
                  </a:lnTo>
                  <a:lnTo>
                    <a:pt x="12614" y="437"/>
                  </a:lnTo>
                  <a:lnTo>
                    <a:pt x="12605" y="439"/>
                  </a:lnTo>
                  <a:lnTo>
                    <a:pt x="12596" y="441"/>
                  </a:lnTo>
                  <a:lnTo>
                    <a:pt x="12579" y="445"/>
                  </a:lnTo>
                  <a:lnTo>
                    <a:pt x="12564" y="451"/>
                  </a:lnTo>
                  <a:lnTo>
                    <a:pt x="12550" y="459"/>
                  </a:lnTo>
                  <a:lnTo>
                    <a:pt x="12538" y="468"/>
                  </a:lnTo>
                  <a:lnTo>
                    <a:pt x="12529" y="478"/>
                  </a:lnTo>
                  <a:lnTo>
                    <a:pt x="12519" y="489"/>
                  </a:lnTo>
                  <a:lnTo>
                    <a:pt x="12512" y="499"/>
                  </a:lnTo>
                  <a:lnTo>
                    <a:pt x="12505" y="510"/>
                  </a:lnTo>
                  <a:lnTo>
                    <a:pt x="12500" y="521"/>
                  </a:lnTo>
                  <a:lnTo>
                    <a:pt x="12496" y="531"/>
                  </a:lnTo>
                  <a:lnTo>
                    <a:pt x="12492" y="541"/>
                  </a:lnTo>
                  <a:lnTo>
                    <a:pt x="12490" y="550"/>
                  </a:lnTo>
                  <a:lnTo>
                    <a:pt x="12489" y="558"/>
                  </a:lnTo>
                  <a:lnTo>
                    <a:pt x="12489" y="565"/>
                  </a:lnTo>
                  <a:lnTo>
                    <a:pt x="12768" y="565"/>
                  </a:lnTo>
                  <a:close/>
                  <a:moveTo>
                    <a:pt x="12890" y="1069"/>
                  </a:moveTo>
                  <a:lnTo>
                    <a:pt x="12868" y="1073"/>
                  </a:lnTo>
                  <a:lnTo>
                    <a:pt x="12847" y="1078"/>
                  </a:lnTo>
                  <a:lnTo>
                    <a:pt x="12827" y="1083"/>
                  </a:lnTo>
                  <a:lnTo>
                    <a:pt x="12806" y="1086"/>
                  </a:lnTo>
                  <a:lnTo>
                    <a:pt x="12784" y="1089"/>
                  </a:lnTo>
                  <a:lnTo>
                    <a:pt x="12761" y="1091"/>
                  </a:lnTo>
                  <a:lnTo>
                    <a:pt x="12735" y="1092"/>
                  </a:lnTo>
                  <a:lnTo>
                    <a:pt x="12707" y="1092"/>
                  </a:lnTo>
                  <a:lnTo>
                    <a:pt x="12687" y="1092"/>
                  </a:lnTo>
                  <a:lnTo>
                    <a:pt x="12667" y="1091"/>
                  </a:lnTo>
                  <a:lnTo>
                    <a:pt x="12647" y="1089"/>
                  </a:lnTo>
                  <a:lnTo>
                    <a:pt x="12628" y="1087"/>
                  </a:lnTo>
                  <a:lnTo>
                    <a:pt x="12609" y="1083"/>
                  </a:lnTo>
                  <a:lnTo>
                    <a:pt x="12592" y="1078"/>
                  </a:lnTo>
                  <a:lnTo>
                    <a:pt x="12574" y="1074"/>
                  </a:lnTo>
                  <a:lnTo>
                    <a:pt x="12558" y="1068"/>
                  </a:lnTo>
                  <a:lnTo>
                    <a:pt x="12540" y="1061"/>
                  </a:lnTo>
                  <a:lnTo>
                    <a:pt x="12524" y="1054"/>
                  </a:lnTo>
                  <a:lnTo>
                    <a:pt x="12509" y="1045"/>
                  </a:lnTo>
                  <a:lnTo>
                    <a:pt x="12496" y="1037"/>
                  </a:lnTo>
                  <a:lnTo>
                    <a:pt x="12481" y="1026"/>
                  </a:lnTo>
                  <a:lnTo>
                    <a:pt x="12468" y="1015"/>
                  </a:lnTo>
                  <a:lnTo>
                    <a:pt x="12455" y="1004"/>
                  </a:lnTo>
                  <a:lnTo>
                    <a:pt x="12443" y="992"/>
                  </a:lnTo>
                  <a:lnTo>
                    <a:pt x="12431" y="978"/>
                  </a:lnTo>
                  <a:lnTo>
                    <a:pt x="12421" y="964"/>
                  </a:lnTo>
                  <a:lnTo>
                    <a:pt x="12410" y="949"/>
                  </a:lnTo>
                  <a:lnTo>
                    <a:pt x="12400" y="933"/>
                  </a:lnTo>
                  <a:lnTo>
                    <a:pt x="12392" y="917"/>
                  </a:lnTo>
                  <a:lnTo>
                    <a:pt x="12384" y="899"/>
                  </a:lnTo>
                  <a:lnTo>
                    <a:pt x="12377" y="881"/>
                  </a:lnTo>
                  <a:lnTo>
                    <a:pt x="12370" y="862"/>
                  </a:lnTo>
                  <a:lnTo>
                    <a:pt x="12364" y="841"/>
                  </a:lnTo>
                  <a:lnTo>
                    <a:pt x="12359" y="821"/>
                  </a:lnTo>
                  <a:lnTo>
                    <a:pt x="12354" y="799"/>
                  </a:lnTo>
                  <a:lnTo>
                    <a:pt x="12351" y="776"/>
                  </a:lnTo>
                  <a:lnTo>
                    <a:pt x="12348" y="752"/>
                  </a:lnTo>
                  <a:lnTo>
                    <a:pt x="12346" y="727"/>
                  </a:lnTo>
                  <a:lnTo>
                    <a:pt x="12345" y="701"/>
                  </a:lnTo>
                  <a:lnTo>
                    <a:pt x="12345" y="676"/>
                  </a:lnTo>
                  <a:lnTo>
                    <a:pt x="12345" y="647"/>
                  </a:lnTo>
                  <a:lnTo>
                    <a:pt x="12347" y="620"/>
                  </a:lnTo>
                  <a:lnTo>
                    <a:pt x="12349" y="595"/>
                  </a:lnTo>
                  <a:lnTo>
                    <a:pt x="12353" y="571"/>
                  </a:lnTo>
                  <a:lnTo>
                    <a:pt x="12359" y="549"/>
                  </a:lnTo>
                  <a:lnTo>
                    <a:pt x="12364" y="527"/>
                  </a:lnTo>
                  <a:lnTo>
                    <a:pt x="12370" y="508"/>
                  </a:lnTo>
                  <a:lnTo>
                    <a:pt x="12378" y="489"/>
                  </a:lnTo>
                  <a:lnTo>
                    <a:pt x="12385" y="472"/>
                  </a:lnTo>
                  <a:lnTo>
                    <a:pt x="12395" y="457"/>
                  </a:lnTo>
                  <a:lnTo>
                    <a:pt x="12404" y="442"/>
                  </a:lnTo>
                  <a:lnTo>
                    <a:pt x="12414" y="428"/>
                  </a:lnTo>
                  <a:lnTo>
                    <a:pt x="12425" y="416"/>
                  </a:lnTo>
                  <a:lnTo>
                    <a:pt x="12436" y="404"/>
                  </a:lnTo>
                  <a:lnTo>
                    <a:pt x="12446" y="394"/>
                  </a:lnTo>
                  <a:lnTo>
                    <a:pt x="12458" y="384"/>
                  </a:lnTo>
                  <a:lnTo>
                    <a:pt x="12470" y="377"/>
                  </a:lnTo>
                  <a:lnTo>
                    <a:pt x="12483" y="368"/>
                  </a:lnTo>
                  <a:lnTo>
                    <a:pt x="12494" y="362"/>
                  </a:lnTo>
                  <a:lnTo>
                    <a:pt x="12507" y="356"/>
                  </a:lnTo>
                  <a:lnTo>
                    <a:pt x="12519" y="351"/>
                  </a:lnTo>
                  <a:lnTo>
                    <a:pt x="12532" y="346"/>
                  </a:lnTo>
                  <a:lnTo>
                    <a:pt x="12544" y="342"/>
                  </a:lnTo>
                  <a:lnTo>
                    <a:pt x="12556" y="339"/>
                  </a:lnTo>
                  <a:lnTo>
                    <a:pt x="12580" y="334"/>
                  </a:lnTo>
                  <a:lnTo>
                    <a:pt x="12602" y="331"/>
                  </a:lnTo>
                  <a:lnTo>
                    <a:pt x="12624" y="328"/>
                  </a:lnTo>
                  <a:lnTo>
                    <a:pt x="12642" y="328"/>
                  </a:lnTo>
                  <a:lnTo>
                    <a:pt x="12659" y="328"/>
                  </a:lnTo>
                  <a:lnTo>
                    <a:pt x="12675" y="330"/>
                  </a:lnTo>
                  <a:lnTo>
                    <a:pt x="12690" y="332"/>
                  </a:lnTo>
                  <a:lnTo>
                    <a:pt x="12705" y="334"/>
                  </a:lnTo>
                  <a:lnTo>
                    <a:pt x="12719" y="337"/>
                  </a:lnTo>
                  <a:lnTo>
                    <a:pt x="12733" y="341"/>
                  </a:lnTo>
                  <a:lnTo>
                    <a:pt x="12746" y="346"/>
                  </a:lnTo>
                  <a:lnTo>
                    <a:pt x="12759" y="350"/>
                  </a:lnTo>
                  <a:lnTo>
                    <a:pt x="12771" y="356"/>
                  </a:lnTo>
                  <a:lnTo>
                    <a:pt x="12783" y="362"/>
                  </a:lnTo>
                  <a:lnTo>
                    <a:pt x="12794" y="369"/>
                  </a:lnTo>
                  <a:lnTo>
                    <a:pt x="12804" y="375"/>
                  </a:lnTo>
                  <a:lnTo>
                    <a:pt x="12814" y="384"/>
                  </a:lnTo>
                  <a:lnTo>
                    <a:pt x="12824" y="393"/>
                  </a:lnTo>
                  <a:lnTo>
                    <a:pt x="12833" y="401"/>
                  </a:lnTo>
                  <a:lnTo>
                    <a:pt x="12841" y="411"/>
                  </a:lnTo>
                  <a:lnTo>
                    <a:pt x="12849" y="420"/>
                  </a:lnTo>
                  <a:lnTo>
                    <a:pt x="12857" y="431"/>
                  </a:lnTo>
                  <a:lnTo>
                    <a:pt x="12863" y="442"/>
                  </a:lnTo>
                  <a:lnTo>
                    <a:pt x="12870" y="453"/>
                  </a:lnTo>
                  <a:lnTo>
                    <a:pt x="12876" y="465"/>
                  </a:lnTo>
                  <a:lnTo>
                    <a:pt x="12881" y="478"/>
                  </a:lnTo>
                  <a:lnTo>
                    <a:pt x="12886" y="490"/>
                  </a:lnTo>
                  <a:lnTo>
                    <a:pt x="12890" y="504"/>
                  </a:lnTo>
                  <a:lnTo>
                    <a:pt x="12894" y="517"/>
                  </a:lnTo>
                  <a:lnTo>
                    <a:pt x="12897" y="530"/>
                  </a:lnTo>
                  <a:lnTo>
                    <a:pt x="12901" y="545"/>
                  </a:lnTo>
                  <a:lnTo>
                    <a:pt x="12903" y="560"/>
                  </a:lnTo>
                  <a:lnTo>
                    <a:pt x="12906" y="590"/>
                  </a:lnTo>
                  <a:lnTo>
                    <a:pt x="12907" y="622"/>
                  </a:lnTo>
                  <a:lnTo>
                    <a:pt x="12907" y="656"/>
                  </a:lnTo>
                  <a:lnTo>
                    <a:pt x="12483" y="656"/>
                  </a:lnTo>
                  <a:lnTo>
                    <a:pt x="12484" y="683"/>
                  </a:lnTo>
                  <a:lnTo>
                    <a:pt x="12486" y="710"/>
                  </a:lnTo>
                  <a:lnTo>
                    <a:pt x="12490" y="738"/>
                  </a:lnTo>
                  <a:lnTo>
                    <a:pt x="12497" y="765"/>
                  </a:lnTo>
                  <a:lnTo>
                    <a:pt x="12500" y="780"/>
                  </a:lnTo>
                  <a:lnTo>
                    <a:pt x="12505" y="793"/>
                  </a:lnTo>
                  <a:lnTo>
                    <a:pt x="12509" y="807"/>
                  </a:lnTo>
                  <a:lnTo>
                    <a:pt x="12515" y="821"/>
                  </a:lnTo>
                  <a:lnTo>
                    <a:pt x="12521" y="834"/>
                  </a:lnTo>
                  <a:lnTo>
                    <a:pt x="12528" y="848"/>
                  </a:lnTo>
                  <a:lnTo>
                    <a:pt x="12534" y="861"/>
                  </a:lnTo>
                  <a:lnTo>
                    <a:pt x="12543" y="872"/>
                  </a:lnTo>
                  <a:lnTo>
                    <a:pt x="12550" y="884"/>
                  </a:lnTo>
                  <a:lnTo>
                    <a:pt x="12559" y="896"/>
                  </a:lnTo>
                  <a:lnTo>
                    <a:pt x="12568" y="908"/>
                  </a:lnTo>
                  <a:lnTo>
                    <a:pt x="12579" y="917"/>
                  </a:lnTo>
                  <a:lnTo>
                    <a:pt x="12590" y="928"/>
                  </a:lnTo>
                  <a:lnTo>
                    <a:pt x="12600" y="936"/>
                  </a:lnTo>
                  <a:lnTo>
                    <a:pt x="12612" y="945"/>
                  </a:lnTo>
                  <a:lnTo>
                    <a:pt x="12625" y="953"/>
                  </a:lnTo>
                  <a:lnTo>
                    <a:pt x="12639" y="961"/>
                  </a:lnTo>
                  <a:lnTo>
                    <a:pt x="12653" y="966"/>
                  </a:lnTo>
                  <a:lnTo>
                    <a:pt x="12667" y="973"/>
                  </a:lnTo>
                  <a:lnTo>
                    <a:pt x="12683" y="977"/>
                  </a:lnTo>
                  <a:lnTo>
                    <a:pt x="12699" y="980"/>
                  </a:lnTo>
                  <a:lnTo>
                    <a:pt x="12716" y="983"/>
                  </a:lnTo>
                  <a:lnTo>
                    <a:pt x="12733" y="984"/>
                  </a:lnTo>
                  <a:lnTo>
                    <a:pt x="12751" y="986"/>
                  </a:lnTo>
                  <a:lnTo>
                    <a:pt x="12775" y="984"/>
                  </a:lnTo>
                  <a:lnTo>
                    <a:pt x="12795" y="982"/>
                  </a:lnTo>
                  <a:lnTo>
                    <a:pt x="12814" y="980"/>
                  </a:lnTo>
                  <a:lnTo>
                    <a:pt x="12832" y="976"/>
                  </a:lnTo>
                  <a:lnTo>
                    <a:pt x="12863" y="968"/>
                  </a:lnTo>
                  <a:lnTo>
                    <a:pt x="12890" y="960"/>
                  </a:lnTo>
                  <a:lnTo>
                    <a:pt x="12890" y="1069"/>
                  </a:lnTo>
                  <a:close/>
                  <a:moveTo>
                    <a:pt x="11667" y="953"/>
                  </a:moveTo>
                  <a:lnTo>
                    <a:pt x="11758" y="953"/>
                  </a:lnTo>
                  <a:lnTo>
                    <a:pt x="11793" y="952"/>
                  </a:lnTo>
                  <a:lnTo>
                    <a:pt x="11826" y="949"/>
                  </a:lnTo>
                  <a:lnTo>
                    <a:pt x="11842" y="947"/>
                  </a:lnTo>
                  <a:lnTo>
                    <a:pt x="11857" y="944"/>
                  </a:lnTo>
                  <a:lnTo>
                    <a:pt x="11872" y="940"/>
                  </a:lnTo>
                  <a:lnTo>
                    <a:pt x="11886" y="936"/>
                  </a:lnTo>
                  <a:lnTo>
                    <a:pt x="11900" y="931"/>
                  </a:lnTo>
                  <a:lnTo>
                    <a:pt x="11914" y="926"/>
                  </a:lnTo>
                  <a:lnTo>
                    <a:pt x="11927" y="919"/>
                  </a:lnTo>
                  <a:lnTo>
                    <a:pt x="11939" y="912"/>
                  </a:lnTo>
                  <a:lnTo>
                    <a:pt x="11950" y="903"/>
                  </a:lnTo>
                  <a:lnTo>
                    <a:pt x="11962" y="895"/>
                  </a:lnTo>
                  <a:lnTo>
                    <a:pt x="11973" y="885"/>
                  </a:lnTo>
                  <a:lnTo>
                    <a:pt x="11982" y="874"/>
                  </a:lnTo>
                  <a:lnTo>
                    <a:pt x="11992" y="863"/>
                  </a:lnTo>
                  <a:lnTo>
                    <a:pt x="12001" y="850"/>
                  </a:lnTo>
                  <a:lnTo>
                    <a:pt x="12009" y="836"/>
                  </a:lnTo>
                  <a:lnTo>
                    <a:pt x="12018" y="821"/>
                  </a:lnTo>
                  <a:lnTo>
                    <a:pt x="12024" y="805"/>
                  </a:lnTo>
                  <a:lnTo>
                    <a:pt x="12032" y="788"/>
                  </a:lnTo>
                  <a:lnTo>
                    <a:pt x="12037" y="770"/>
                  </a:lnTo>
                  <a:lnTo>
                    <a:pt x="12042" y="750"/>
                  </a:lnTo>
                  <a:lnTo>
                    <a:pt x="12048" y="730"/>
                  </a:lnTo>
                  <a:lnTo>
                    <a:pt x="12052" y="708"/>
                  </a:lnTo>
                  <a:lnTo>
                    <a:pt x="12055" y="684"/>
                  </a:lnTo>
                  <a:lnTo>
                    <a:pt x="12058" y="660"/>
                  </a:lnTo>
                  <a:lnTo>
                    <a:pt x="12060" y="634"/>
                  </a:lnTo>
                  <a:lnTo>
                    <a:pt x="12062" y="606"/>
                  </a:lnTo>
                  <a:lnTo>
                    <a:pt x="12063" y="577"/>
                  </a:lnTo>
                  <a:lnTo>
                    <a:pt x="12064" y="546"/>
                  </a:lnTo>
                  <a:lnTo>
                    <a:pt x="12063" y="515"/>
                  </a:lnTo>
                  <a:lnTo>
                    <a:pt x="12062" y="487"/>
                  </a:lnTo>
                  <a:lnTo>
                    <a:pt x="12060" y="459"/>
                  </a:lnTo>
                  <a:lnTo>
                    <a:pt x="12058" y="432"/>
                  </a:lnTo>
                  <a:lnTo>
                    <a:pt x="12055" y="408"/>
                  </a:lnTo>
                  <a:lnTo>
                    <a:pt x="12052" y="384"/>
                  </a:lnTo>
                  <a:lnTo>
                    <a:pt x="12048" y="362"/>
                  </a:lnTo>
                  <a:lnTo>
                    <a:pt x="12042" y="340"/>
                  </a:lnTo>
                  <a:lnTo>
                    <a:pt x="12037" y="321"/>
                  </a:lnTo>
                  <a:lnTo>
                    <a:pt x="12032" y="303"/>
                  </a:lnTo>
                  <a:lnTo>
                    <a:pt x="12024" y="286"/>
                  </a:lnTo>
                  <a:lnTo>
                    <a:pt x="12018" y="270"/>
                  </a:lnTo>
                  <a:lnTo>
                    <a:pt x="12009" y="255"/>
                  </a:lnTo>
                  <a:lnTo>
                    <a:pt x="12001" y="241"/>
                  </a:lnTo>
                  <a:lnTo>
                    <a:pt x="11992" y="228"/>
                  </a:lnTo>
                  <a:lnTo>
                    <a:pt x="11982" y="216"/>
                  </a:lnTo>
                  <a:lnTo>
                    <a:pt x="11972" y="206"/>
                  </a:lnTo>
                  <a:lnTo>
                    <a:pt x="11961" y="196"/>
                  </a:lnTo>
                  <a:lnTo>
                    <a:pt x="11950" y="187"/>
                  </a:lnTo>
                  <a:lnTo>
                    <a:pt x="11939" y="180"/>
                  </a:lnTo>
                  <a:lnTo>
                    <a:pt x="11926" y="172"/>
                  </a:lnTo>
                  <a:lnTo>
                    <a:pt x="11913" y="166"/>
                  </a:lnTo>
                  <a:lnTo>
                    <a:pt x="11900" y="161"/>
                  </a:lnTo>
                  <a:lnTo>
                    <a:pt x="11886" y="155"/>
                  </a:lnTo>
                  <a:lnTo>
                    <a:pt x="11871" y="152"/>
                  </a:lnTo>
                  <a:lnTo>
                    <a:pt x="11856" y="149"/>
                  </a:lnTo>
                  <a:lnTo>
                    <a:pt x="11841" y="146"/>
                  </a:lnTo>
                  <a:lnTo>
                    <a:pt x="11825" y="144"/>
                  </a:lnTo>
                  <a:lnTo>
                    <a:pt x="11791" y="140"/>
                  </a:lnTo>
                  <a:lnTo>
                    <a:pt x="11756" y="139"/>
                  </a:lnTo>
                  <a:lnTo>
                    <a:pt x="11667" y="139"/>
                  </a:lnTo>
                  <a:lnTo>
                    <a:pt x="11667" y="953"/>
                  </a:lnTo>
                  <a:close/>
                  <a:moveTo>
                    <a:pt x="11514" y="17"/>
                  </a:moveTo>
                  <a:lnTo>
                    <a:pt x="11786" y="17"/>
                  </a:lnTo>
                  <a:lnTo>
                    <a:pt x="11815" y="18"/>
                  </a:lnTo>
                  <a:lnTo>
                    <a:pt x="11843" y="19"/>
                  </a:lnTo>
                  <a:lnTo>
                    <a:pt x="11871" y="22"/>
                  </a:lnTo>
                  <a:lnTo>
                    <a:pt x="11897" y="25"/>
                  </a:lnTo>
                  <a:lnTo>
                    <a:pt x="11923" y="30"/>
                  </a:lnTo>
                  <a:lnTo>
                    <a:pt x="11946" y="36"/>
                  </a:lnTo>
                  <a:lnTo>
                    <a:pt x="11970" y="42"/>
                  </a:lnTo>
                  <a:lnTo>
                    <a:pt x="11991" y="51"/>
                  </a:lnTo>
                  <a:lnTo>
                    <a:pt x="12012" y="59"/>
                  </a:lnTo>
                  <a:lnTo>
                    <a:pt x="12032" y="69"/>
                  </a:lnTo>
                  <a:lnTo>
                    <a:pt x="12051" y="80"/>
                  </a:lnTo>
                  <a:lnTo>
                    <a:pt x="12069" y="91"/>
                  </a:lnTo>
                  <a:lnTo>
                    <a:pt x="12085" y="105"/>
                  </a:lnTo>
                  <a:lnTo>
                    <a:pt x="12101" y="119"/>
                  </a:lnTo>
                  <a:lnTo>
                    <a:pt x="12116" y="134"/>
                  </a:lnTo>
                  <a:lnTo>
                    <a:pt x="12130" y="150"/>
                  </a:lnTo>
                  <a:lnTo>
                    <a:pt x="12143" y="167"/>
                  </a:lnTo>
                  <a:lnTo>
                    <a:pt x="12155" y="184"/>
                  </a:lnTo>
                  <a:lnTo>
                    <a:pt x="12166" y="203"/>
                  </a:lnTo>
                  <a:lnTo>
                    <a:pt x="12176" y="224"/>
                  </a:lnTo>
                  <a:lnTo>
                    <a:pt x="12186" y="245"/>
                  </a:lnTo>
                  <a:lnTo>
                    <a:pt x="12194" y="267"/>
                  </a:lnTo>
                  <a:lnTo>
                    <a:pt x="12202" y="290"/>
                  </a:lnTo>
                  <a:lnTo>
                    <a:pt x="12208" y="315"/>
                  </a:lnTo>
                  <a:lnTo>
                    <a:pt x="12213" y="339"/>
                  </a:lnTo>
                  <a:lnTo>
                    <a:pt x="12219" y="366"/>
                  </a:lnTo>
                  <a:lnTo>
                    <a:pt x="12223" y="393"/>
                  </a:lnTo>
                  <a:lnTo>
                    <a:pt x="12226" y="420"/>
                  </a:lnTo>
                  <a:lnTo>
                    <a:pt x="12229" y="450"/>
                  </a:lnTo>
                  <a:lnTo>
                    <a:pt x="12231" y="480"/>
                  </a:lnTo>
                  <a:lnTo>
                    <a:pt x="12233" y="511"/>
                  </a:lnTo>
                  <a:lnTo>
                    <a:pt x="12233" y="543"/>
                  </a:lnTo>
                  <a:lnTo>
                    <a:pt x="12231" y="584"/>
                  </a:lnTo>
                  <a:lnTo>
                    <a:pt x="12230" y="622"/>
                  </a:lnTo>
                  <a:lnTo>
                    <a:pt x="12227" y="658"/>
                  </a:lnTo>
                  <a:lnTo>
                    <a:pt x="12223" y="693"/>
                  </a:lnTo>
                  <a:lnTo>
                    <a:pt x="12219" y="725"/>
                  </a:lnTo>
                  <a:lnTo>
                    <a:pt x="12212" y="756"/>
                  </a:lnTo>
                  <a:lnTo>
                    <a:pt x="12205" y="785"/>
                  </a:lnTo>
                  <a:lnTo>
                    <a:pt x="12197" y="811"/>
                  </a:lnTo>
                  <a:lnTo>
                    <a:pt x="12188" y="837"/>
                  </a:lnTo>
                  <a:lnTo>
                    <a:pt x="12178" y="862"/>
                  </a:lnTo>
                  <a:lnTo>
                    <a:pt x="12167" y="884"/>
                  </a:lnTo>
                  <a:lnTo>
                    <a:pt x="12156" y="905"/>
                  </a:lnTo>
                  <a:lnTo>
                    <a:pt x="12143" y="925"/>
                  </a:lnTo>
                  <a:lnTo>
                    <a:pt x="12130" y="943"/>
                  </a:lnTo>
                  <a:lnTo>
                    <a:pt x="12116" y="959"/>
                  </a:lnTo>
                  <a:lnTo>
                    <a:pt x="12101" y="975"/>
                  </a:lnTo>
                  <a:lnTo>
                    <a:pt x="12085" y="989"/>
                  </a:lnTo>
                  <a:lnTo>
                    <a:pt x="12069" y="1002"/>
                  </a:lnTo>
                  <a:lnTo>
                    <a:pt x="12052" y="1013"/>
                  </a:lnTo>
                  <a:lnTo>
                    <a:pt x="12035" y="1023"/>
                  </a:lnTo>
                  <a:lnTo>
                    <a:pt x="12017" y="1033"/>
                  </a:lnTo>
                  <a:lnTo>
                    <a:pt x="11998" y="1041"/>
                  </a:lnTo>
                  <a:lnTo>
                    <a:pt x="11979" y="1049"/>
                  </a:lnTo>
                  <a:lnTo>
                    <a:pt x="11959" y="1055"/>
                  </a:lnTo>
                  <a:lnTo>
                    <a:pt x="11939" y="1060"/>
                  </a:lnTo>
                  <a:lnTo>
                    <a:pt x="11918" y="1065"/>
                  </a:lnTo>
                  <a:lnTo>
                    <a:pt x="11897" y="1068"/>
                  </a:lnTo>
                  <a:lnTo>
                    <a:pt x="11876" y="1071"/>
                  </a:lnTo>
                  <a:lnTo>
                    <a:pt x="11853" y="1073"/>
                  </a:lnTo>
                  <a:lnTo>
                    <a:pt x="11831" y="1075"/>
                  </a:lnTo>
                  <a:lnTo>
                    <a:pt x="11808" y="1075"/>
                  </a:lnTo>
                  <a:lnTo>
                    <a:pt x="11786" y="1076"/>
                  </a:lnTo>
                  <a:lnTo>
                    <a:pt x="11514" y="1076"/>
                  </a:lnTo>
                  <a:lnTo>
                    <a:pt x="11514" y="17"/>
                  </a:lnTo>
                  <a:close/>
                  <a:moveTo>
                    <a:pt x="10702" y="864"/>
                  </a:moveTo>
                  <a:lnTo>
                    <a:pt x="10913" y="864"/>
                  </a:lnTo>
                  <a:lnTo>
                    <a:pt x="10913" y="1076"/>
                  </a:lnTo>
                  <a:lnTo>
                    <a:pt x="10702" y="1076"/>
                  </a:lnTo>
                  <a:lnTo>
                    <a:pt x="10702" y="864"/>
                  </a:lnTo>
                  <a:close/>
                  <a:moveTo>
                    <a:pt x="10412" y="565"/>
                  </a:moveTo>
                  <a:lnTo>
                    <a:pt x="10412" y="556"/>
                  </a:lnTo>
                  <a:lnTo>
                    <a:pt x="10411" y="546"/>
                  </a:lnTo>
                  <a:lnTo>
                    <a:pt x="10409" y="536"/>
                  </a:lnTo>
                  <a:lnTo>
                    <a:pt x="10406" y="525"/>
                  </a:lnTo>
                  <a:lnTo>
                    <a:pt x="10402" y="514"/>
                  </a:lnTo>
                  <a:lnTo>
                    <a:pt x="10398" y="504"/>
                  </a:lnTo>
                  <a:lnTo>
                    <a:pt x="10392" y="493"/>
                  </a:lnTo>
                  <a:lnTo>
                    <a:pt x="10385" y="483"/>
                  </a:lnTo>
                  <a:lnTo>
                    <a:pt x="10377" y="474"/>
                  </a:lnTo>
                  <a:lnTo>
                    <a:pt x="10367" y="464"/>
                  </a:lnTo>
                  <a:lnTo>
                    <a:pt x="10356" y="457"/>
                  </a:lnTo>
                  <a:lnTo>
                    <a:pt x="10344" y="449"/>
                  </a:lnTo>
                  <a:lnTo>
                    <a:pt x="10330" y="444"/>
                  </a:lnTo>
                  <a:lnTo>
                    <a:pt x="10315" y="440"/>
                  </a:lnTo>
                  <a:lnTo>
                    <a:pt x="10298" y="436"/>
                  </a:lnTo>
                  <a:lnTo>
                    <a:pt x="10278" y="436"/>
                  </a:lnTo>
                  <a:lnTo>
                    <a:pt x="10268" y="436"/>
                  </a:lnTo>
                  <a:lnTo>
                    <a:pt x="10258" y="437"/>
                  </a:lnTo>
                  <a:lnTo>
                    <a:pt x="10249" y="439"/>
                  </a:lnTo>
                  <a:lnTo>
                    <a:pt x="10240" y="441"/>
                  </a:lnTo>
                  <a:lnTo>
                    <a:pt x="10223" y="445"/>
                  </a:lnTo>
                  <a:lnTo>
                    <a:pt x="10208" y="451"/>
                  </a:lnTo>
                  <a:lnTo>
                    <a:pt x="10194" y="459"/>
                  </a:lnTo>
                  <a:lnTo>
                    <a:pt x="10182" y="468"/>
                  </a:lnTo>
                  <a:lnTo>
                    <a:pt x="10172" y="478"/>
                  </a:lnTo>
                  <a:lnTo>
                    <a:pt x="10163" y="489"/>
                  </a:lnTo>
                  <a:lnTo>
                    <a:pt x="10156" y="499"/>
                  </a:lnTo>
                  <a:lnTo>
                    <a:pt x="10149" y="510"/>
                  </a:lnTo>
                  <a:lnTo>
                    <a:pt x="10144" y="521"/>
                  </a:lnTo>
                  <a:lnTo>
                    <a:pt x="10139" y="531"/>
                  </a:lnTo>
                  <a:lnTo>
                    <a:pt x="10136" y="541"/>
                  </a:lnTo>
                  <a:lnTo>
                    <a:pt x="10134" y="550"/>
                  </a:lnTo>
                  <a:lnTo>
                    <a:pt x="10133" y="558"/>
                  </a:lnTo>
                  <a:lnTo>
                    <a:pt x="10132" y="565"/>
                  </a:lnTo>
                  <a:lnTo>
                    <a:pt x="10412" y="565"/>
                  </a:lnTo>
                  <a:close/>
                  <a:moveTo>
                    <a:pt x="10533" y="1069"/>
                  </a:moveTo>
                  <a:lnTo>
                    <a:pt x="10511" y="1073"/>
                  </a:lnTo>
                  <a:lnTo>
                    <a:pt x="10491" y="1078"/>
                  </a:lnTo>
                  <a:lnTo>
                    <a:pt x="10471" y="1083"/>
                  </a:lnTo>
                  <a:lnTo>
                    <a:pt x="10449" y="1086"/>
                  </a:lnTo>
                  <a:lnTo>
                    <a:pt x="10428" y="1089"/>
                  </a:lnTo>
                  <a:lnTo>
                    <a:pt x="10405" y="1091"/>
                  </a:lnTo>
                  <a:lnTo>
                    <a:pt x="10379" y="1092"/>
                  </a:lnTo>
                  <a:lnTo>
                    <a:pt x="10351" y="1092"/>
                  </a:lnTo>
                  <a:lnTo>
                    <a:pt x="10330" y="1092"/>
                  </a:lnTo>
                  <a:lnTo>
                    <a:pt x="10311" y="1091"/>
                  </a:lnTo>
                  <a:lnTo>
                    <a:pt x="10290" y="1089"/>
                  </a:lnTo>
                  <a:lnTo>
                    <a:pt x="10272" y="1087"/>
                  </a:lnTo>
                  <a:lnTo>
                    <a:pt x="10253" y="1083"/>
                  </a:lnTo>
                  <a:lnTo>
                    <a:pt x="10235" y="1078"/>
                  </a:lnTo>
                  <a:lnTo>
                    <a:pt x="10218" y="1074"/>
                  </a:lnTo>
                  <a:lnTo>
                    <a:pt x="10200" y="1068"/>
                  </a:lnTo>
                  <a:lnTo>
                    <a:pt x="10184" y="1061"/>
                  </a:lnTo>
                  <a:lnTo>
                    <a:pt x="10168" y="1054"/>
                  </a:lnTo>
                  <a:lnTo>
                    <a:pt x="10153" y="1045"/>
                  </a:lnTo>
                  <a:lnTo>
                    <a:pt x="10138" y="1037"/>
                  </a:lnTo>
                  <a:lnTo>
                    <a:pt x="10124" y="1026"/>
                  </a:lnTo>
                  <a:lnTo>
                    <a:pt x="10112" y="1015"/>
                  </a:lnTo>
                  <a:lnTo>
                    <a:pt x="10099" y="1004"/>
                  </a:lnTo>
                  <a:lnTo>
                    <a:pt x="10086" y="992"/>
                  </a:lnTo>
                  <a:lnTo>
                    <a:pt x="10075" y="978"/>
                  </a:lnTo>
                  <a:lnTo>
                    <a:pt x="10065" y="964"/>
                  </a:lnTo>
                  <a:lnTo>
                    <a:pt x="10054" y="949"/>
                  </a:lnTo>
                  <a:lnTo>
                    <a:pt x="10044" y="933"/>
                  </a:lnTo>
                  <a:lnTo>
                    <a:pt x="10036" y="917"/>
                  </a:lnTo>
                  <a:lnTo>
                    <a:pt x="10027" y="899"/>
                  </a:lnTo>
                  <a:lnTo>
                    <a:pt x="10021" y="881"/>
                  </a:lnTo>
                  <a:lnTo>
                    <a:pt x="10013" y="862"/>
                  </a:lnTo>
                  <a:lnTo>
                    <a:pt x="10008" y="841"/>
                  </a:lnTo>
                  <a:lnTo>
                    <a:pt x="10003" y="821"/>
                  </a:lnTo>
                  <a:lnTo>
                    <a:pt x="9998" y="799"/>
                  </a:lnTo>
                  <a:lnTo>
                    <a:pt x="9995" y="776"/>
                  </a:lnTo>
                  <a:lnTo>
                    <a:pt x="9992" y="752"/>
                  </a:lnTo>
                  <a:lnTo>
                    <a:pt x="9990" y="727"/>
                  </a:lnTo>
                  <a:lnTo>
                    <a:pt x="9989" y="701"/>
                  </a:lnTo>
                  <a:lnTo>
                    <a:pt x="9989" y="676"/>
                  </a:lnTo>
                  <a:lnTo>
                    <a:pt x="9989" y="647"/>
                  </a:lnTo>
                  <a:lnTo>
                    <a:pt x="9991" y="620"/>
                  </a:lnTo>
                  <a:lnTo>
                    <a:pt x="9993" y="595"/>
                  </a:lnTo>
                  <a:lnTo>
                    <a:pt x="9997" y="571"/>
                  </a:lnTo>
                  <a:lnTo>
                    <a:pt x="10002" y="549"/>
                  </a:lnTo>
                  <a:lnTo>
                    <a:pt x="10008" y="527"/>
                  </a:lnTo>
                  <a:lnTo>
                    <a:pt x="10014" y="508"/>
                  </a:lnTo>
                  <a:lnTo>
                    <a:pt x="10022" y="489"/>
                  </a:lnTo>
                  <a:lnTo>
                    <a:pt x="10029" y="472"/>
                  </a:lnTo>
                  <a:lnTo>
                    <a:pt x="10039" y="457"/>
                  </a:lnTo>
                  <a:lnTo>
                    <a:pt x="10048" y="442"/>
                  </a:lnTo>
                  <a:lnTo>
                    <a:pt x="10058" y="428"/>
                  </a:lnTo>
                  <a:lnTo>
                    <a:pt x="10068" y="416"/>
                  </a:lnTo>
                  <a:lnTo>
                    <a:pt x="10080" y="404"/>
                  </a:lnTo>
                  <a:lnTo>
                    <a:pt x="10090" y="394"/>
                  </a:lnTo>
                  <a:lnTo>
                    <a:pt x="10102" y="384"/>
                  </a:lnTo>
                  <a:lnTo>
                    <a:pt x="10114" y="377"/>
                  </a:lnTo>
                  <a:lnTo>
                    <a:pt x="10126" y="368"/>
                  </a:lnTo>
                  <a:lnTo>
                    <a:pt x="10138" y="362"/>
                  </a:lnTo>
                  <a:lnTo>
                    <a:pt x="10151" y="356"/>
                  </a:lnTo>
                  <a:lnTo>
                    <a:pt x="10163" y="351"/>
                  </a:lnTo>
                  <a:lnTo>
                    <a:pt x="10176" y="346"/>
                  </a:lnTo>
                  <a:lnTo>
                    <a:pt x="10188" y="342"/>
                  </a:lnTo>
                  <a:lnTo>
                    <a:pt x="10200" y="339"/>
                  </a:lnTo>
                  <a:lnTo>
                    <a:pt x="10224" y="334"/>
                  </a:lnTo>
                  <a:lnTo>
                    <a:pt x="10246" y="331"/>
                  </a:lnTo>
                  <a:lnTo>
                    <a:pt x="10268" y="328"/>
                  </a:lnTo>
                  <a:lnTo>
                    <a:pt x="10286" y="328"/>
                  </a:lnTo>
                  <a:lnTo>
                    <a:pt x="10303" y="328"/>
                  </a:lnTo>
                  <a:lnTo>
                    <a:pt x="10318" y="330"/>
                  </a:lnTo>
                  <a:lnTo>
                    <a:pt x="10334" y="332"/>
                  </a:lnTo>
                  <a:lnTo>
                    <a:pt x="10349" y="334"/>
                  </a:lnTo>
                  <a:lnTo>
                    <a:pt x="10363" y="337"/>
                  </a:lnTo>
                  <a:lnTo>
                    <a:pt x="10377" y="341"/>
                  </a:lnTo>
                  <a:lnTo>
                    <a:pt x="10390" y="346"/>
                  </a:lnTo>
                  <a:lnTo>
                    <a:pt x="10402" y="350"/>
                  </a:lnTo>
                  <a:lnTo>
                    <a:pt x="10414" y="356"/>
                  </a:lnTo>
                  <a:lnTo>
                    <a:pt x="10426" y="362"/>
                  </a:lnTo>
                  <a:lnTo>
                    <a:pt x="10438" y="369"/>
                  </a:lnTo>
                  <a:lnTo>
                    <a:pt x="10448" y="375"/>
                  </a:lnTo>
                  <a:lnTo>
                    <a:pt x="10458" y="384"/>
                  </a:lnTo>
                  <a:lnTo>
                    <a:pt x="10468" y="393"/>
                  </a:lnTo>
                  <a:lnTo>
                    <a:pt x="10476" y="401"/>
                  </a:lnTo>
                  <a:lnTo>
                    <a:pt x="10485" y="411"/>
                  </a:lnTo>
                  <a:lnTo>
                    <a:pt x="10493" y="420"/>
                  </a:lnTo>
                  <a:lnTo>
                    <a:pt x="10501" y="431"/>
                  </a:lnTo>
                  <a:lnTo>
                    <a:pt x="10507" y="442"/>
                  </a:lnTo>
                  <a:lnTo>
                    <a:pt x="10514" y="453"/>
                  </a:lnTo>
                  <a:lnTo>
                    <a:pt x="10520" y="465"/>
                  </a:lnTo>
                  <a:lnTo>
                    <a:pt x="10525" y="478"/>
                  </a:lnTo>
                  <a:lnTo>
                    <a:pt x="10530" y="490"/>
                  </a:lnTo>
                  <a:lnTo>
                    <a:pt x="10534" y="504"/>
                  </a:lnTo>
                  <a:lnTo>
                    <a:pt x="10538" y="517"/>
                  </a:lnTo>
                  <a:lnTo>
                    <a:pt x="10541" y="530"/>
                  </a:lnTo>
                  <a:lnTo>
                    <a:pt x="10544" y="545"/>
                  </a:lnTo>
                  <a:lnTo>
                    <a:pt x="10547" y="560"/>
                  </a:lnTo>
                  <a:lnTo>
                    <a:pt x="10549" y="590"/>
                  </a:lnTo>
                  <a:lnTo>
                    <a:pt x="10550" y="622"/>
                  </a:lnTo>
                  <a:lnTo>
                    <a:pt x="10550" y="656"/>
                  </a:lnTo>
                  <a:lnTo>
                    <a:pt x="10127" y="656"/>
                  </a:lnTo>
                  <a:lnTo>
                    <a:pt x="10128" y="683"/>
                  </a:lnTo>
                  <a:lnTo>
                    <a:pt x="10130" y="710"/>
                  </a:lnTo>
                  <a:lnTo>
                    <a:pt x="10134" y="738"/>
                  </a:lnTo>
                  <a:lnTo>
                    <a:pt x="10141" y="765"/>
                  </a:lnTo>
                  <a:lnTo>
                    <a:pt x="10144" y="780"/>
                  </a:lnTo>
                  <a:lnTo>
                    <a:pt x="10149" y="793"/>
                  </a:lnTo>
                  <a:lnTo>
                    <a:pt x="10153" y="807"/>
                  </a:lnTo>
                  <a:lnTo>
                    <a:pt x="10159" y="821"/>
                  </a:lnTo>
                  <a:lnTo>
                    <a:pt x="10165" y="834"/>
                  </a:lnTo>
                  <a:lnTo>
                    <a:pt x="10172" y="848"/>
                  </a:lnTo>
                  <a:lnTo>
                    <a:pt x="10178" y="861"/>
                  </a:lnTo>
                  <a:lnTo>
                    <a:pt x="10185" y="872"/>
                  </a:lnTo>
                  <a:lnTo>
                    <a:pt x="10194" y="884"/>
                  </a:lnTo>
                  <a:lnTo>
                    <a:pt x="10203" y="896"/>
                  </a:lnTo>
                  <a:lnTo>
                    <a:pt x="10212" y="908"/>
                  </a:lnTo>
                  <a:lnTo>
                    <a:pt x="10223" y="917"/>
                  </a:lnTo>
                  <a:lnTo>
                    <a:pt x="10234" y="928"/>
                  </a:lnTo>
                  <a:lnTo>
                    <a:pt x="10244" y="936"/>
                  </a:lnTo>
                  <a:lnTo>
                    <a:pt x="10256" y="945"/>
                  </a:lnTo>
                  <a:lnTo>
                    <a:pt x="10269" y="953"/>
                  </a:lnTo>
                  <a:lnTo>
                    <a:pt x="10283" y="961"/>
                  </a:lnTo>
                  <a:lnTo>
                    <a:pt x="10297" y="966"/>
                  </a:lnTo>
                  <a:lnTo>
                    <a:pt x="10311" y="973"/>
                  </a:lnTo>
                  <a:lnTo>
                    <a:pt x="10327" y="977"/>
                  </a:lnTo>
                  <a:lnTo>
                    <a:pt x="10343" y="980"/>
                  </a:lnTo>
                  <a:lnTo>
                    <a:pt x="10360" y="983"/>
                  </a:lnTo>
                  <a:lnTo>
                    <a:pt x="10377" y="984"/>
                  </a:lnTo>
                  <a:lnTo>
                    <a:pt x="10395" y="986"/>
                  </a:lnTo>
                  <a:lnTo>
                    <a:pt x="10417" y="984"/>
                  </a:lnTo>
                  <a:lnTo>
                    <a:pt x="10439" y="982"/>
                  </a:lnTo>
                  <a:lnTo>
                    <a:pt x="10458" y="980"/>
                  </a:lnTo>
                  <a:lnTo>
                    <a:pt x="10476" y="976"/>
                  </a:lnTo>
                  <a:lnTo>
                    <a:pt x="10507" y="968"/>
                  </a:lnTo>
                  <a:lnTo>
                    <a:pt x="10533" y="960"/>
                  </a:lnTo>
                  <a:lnTo>
                    <a:pt x="10533" y="1069"/>
                  </a:lnTo>
                  <a:close/>
                  <a:moveTo>
                    <a:pt x="9878" y="1066"/>
                  </a:moveTo>
                  <a:lnTo>
                    <a:pt x="9856" y="1071"/>
                  </a:lnTo>
                  <a:lnTo>
                    <a:pt x="9835" y="1076"/>
                  </a:lnTo>
                  <a:lnTo>
                    <a:pt x="9812" y="1082"/>
                  </a:lnTo>
                  <a:lnTo>
                    <a:pt x="9788" y="1085"/>
                  </a:lnTo>
                  <a:lnTo>
                    <a:pt x="9762" y="1088"/>
                  </a:lnTo>
                  <a:lnTo>
                    <a:pt x="9735" y="1091"/>
                  </a:lnTo>
                  <a:lnTo>
                    <a:pt x="9705" y="1092"/>
                  </a:lnTo>
                  <a:lnTo>
                    <a:pt x="9674" y="1092"/>
                  </a:lnTo>
                  <a:lnTo>
                    <a:pt x="9649" y="1092"/>
                  </a:lnTo>
                  <a:lnTo>
                    <a:pt x="9624" y="1090"/>
                  </a:lnTo>
                  <a:lnTo>
                    <a:pt x="9601" y="1087"/>
                  </a:lnTo>
                  <a:lnTo>
                    <a:pt x="9579" y="1083"/>
                  </a:lnTo>
                  <a:lnTo>
                    <a:pt x="9558" y="1077"/>
                  </a:lnTo>
                  <a:lnTo>
                    <a:pt x="9538" y="1071"/>
                  </a:lnTo>
                  <a:lnTo>
                    <a:pt x="9518" y="1064"/>
                  </a:lnTo>
                  <a:lnTo>
                    <a:pt x="9501" y="1055"/>
                  </a:lnTo>
                  <a:lnTo>
                    <a:pt x="9484" y="1045"/>
                  </a:lnTo>
                  <a:lnTo>
                    <a:pt x="9468" y="1035"/>
                  </a:lnTo>
                  <a:lnTo>
                    <a:pt x="9453" y="1024"/>
                  </a:lnTo>
                  <a:lnTo>
                    <a:pt x="9438" y="1011"/>
                  </a:lnTo>
                  <a:lnTo>
                    <a:pt x="9425" y="998"/>
                  </a:lnTo>
                  <a:lnTo>
                    <a:pt x="9413" y="986"/>
                  </a:lnTo>
                  <a:lnTo>
                    <a:pt x="9402" y="972"/>
                  </a:lnTo>
                  <a:lnTo>
                    <a:pt x="9391" y="957"/>
                  </a:lnTo>
                  <a:lnTo>
                    <a:pt x="9382" y="942"/>
                  </a:lnTo>
                  <a:lnTo>
                    <a:pt x="9372" y="926"/>
                  </a:lnTo>
                  <a:lnTo>
                    <a:pt x="9363" y="910"/>
                  </a:lnTo>
                  <a:lnTo>
                    <a:pt x="9356" y="894"/>
                  </a:lnTo>
                  <a:lnTo>
                    <a:pt x="9349" y="877"/>
                  </a:lnTo>
                  <a:lnTo>
                    <a:pt x="9343" y="859"/>
                  </a:lnTo>
                  <a:lnTo>
                    <a:pt x="9338" y="842"/>
                  </a:lnTo>
                  <a:lnTo>
                    <a:pt x="9333" y="825"/>
                  </a:lnTo>
                  <a:lnTo>
                    <a:pt x="9329" y="807"/>
                  </a:lnTo>
                  <a:lnTo>
                    <a:pt x="9326" y="790"/>
                  </a:lnTo>
                  <a:lnTo>
                    <a:pt x="9323" y="772"/>
                  </a:lnTo>
                  <a:lnTo>
                    <a:pt x="9321" y="754"/>
                  </a:lnTo>
                  <a:lnTo>
                    <a:pt x="9317" y="720"/>
                  </a:lnTo>
                  <a:lnTo>
                    <a:pt x="9317" y="684"/>
                  </a:lnTo>
                  <a:lnTo>
                    <a:pt x="9317" y="666"/>
                  </a:lnTo>
                  <a:lnTo>
                    <a:pt x="9318" y="647"/>
                  </a:lnTo>
                  <a:lnTo>
                    <a:pt x="9320" y="629"/>
                  </a:lnTo>
                  <a:lnTo>
                    <a:pt x="9322" y="611"/>
                  </a:lnTo>
                  <a:lnTo>
                    <a:pt x="9324" y="593"/>
                  </a:lnTo>
                  <a:lnTo>
                    <a:pt x="9327" y="576"/>
                  </a:lnTo>
                  <a:lnTo>
                    <a:pt x="9330" y="559"/>
                  </a:lnTo>
                  <a:lnTo>
                    <a:pt x="9335" y="543"/>
                  </a:lnTo>
                  <a:lnTo>
                    <a:pt x="9340" y="527"/>
                  </a:lnTo>
                  <a:lnTo>
                    <a:pt x="9345" y="511"/>
                  </a:lnTo>
                  <a:lnTo>
                    <a:pt x="9352" y="496"/>
                  </a:lnTo>
                  <a:lnTo>
                    <a:pt x="9358" y="482"/>
                  </a:lnTo>
                  <a:lnTo>
                    <a:pt x="9366" y="468"/>
                  </a:lnTo>
                  <a:lnTo>
                    <a:pt x="9373" y="455"/>
                  </a:lnTo>
                  <a:lnTo>
                    <a:pt x="9382" y="442"/>
                  </a:lnTo>
                  <a:lnTo>
                    <a:pt x="9391" y="430"/>
                  </a:lnTo>
                  <a:lnTo>
                    <a:pt x="9401" y="418"/>
                  </a:lnTo>
                  <a:lnTo>
                    <a:pt x="9411" y="408"/>
                  </a:lnTo>
                  <a:lnTo>
                    <a:pt x="9422" y="397"/>
                  </a:lnTo>
                  <a:lnTo>
                    <a:pt x="9434" y="387"/>
                  </a:lnTo>
                  <a:lnTo>
                    <a:pt x="9447" y="379"/>
                  </a:lnTo>
                  <a:lnTo>
                    <a:pt x="9460" y="370"/>
                  </a:lnTo>
                  <a:lnTo>
                    <a:pt x="9473" y="363"/>
                  </a:lnTo>
                  <a:lnTo>
                    <a:pt x="9487" y="355"/>
                  </a:lnTo>
                  <a:lnTo>
                    <a:pt x="9502" y="349"/>
                  </a:lnTo>
                  <a:lnTo>
                    <a:pt x="9518" y="343"/>
                  </a:lnTo>
                  <a:lnTo>
                    <a:pt x="9535" y="339"/>
                  </a:lnTo>
                  <a:lnTo>
                    <a:pt x="9553" y="336"/>
                  </a:lnTo>
                  <a:lnTo>
                    <a:pt x="9571" y="333"/>
                  </a:lnTo>
                  <a:lnTo>
                    <a:pt x="9589" y="331"/>
                  </a:lnTo>
                  <a:lnTo>
                    <a:pt x="9608" y="328"/>
                  </a:lnTo>
                  <a:lnTo>
                    <a:pt x="9628" y="328"/>
                  </a:lnTo>
                  <a:lnTo>
                    <a:pt x="9648" y="328"/>
                  </a:lnTo>
                  <a:lnTo>
                    <a:pt x="9666" y="331"/>
                  </a:lnTo>
                  <a:lnTo>
                    <a:pt x="9683" y="332"/>
                  </a:lnTo>
                  <a:lnTo>
                    <a:pt x="9699" y="335"/>
                  </a:lnTo>
                  <a:lnTo>
                    <a:pt x="9715" y="338"/>
                  </a:lnTo>
                  <a:lnTo>
                    <a:pt x="9729" y="341"/>
                  </a:lnTo>
                  <a:lnTo>
                    <a:pt x="9744" y="347"/>
                  </a:lnTo>
                  <a:lnTo>
                    <a:pt x="9757" y="352"/>
                  </a:lnTo>
                  <a:lnTo>
                    <a:pt x="9770" y="357"/>
                  </a:lnTo>
                  <a:lnTo>
                    <a:pt x="9780" y="364"/>
                  </a:lnTo>
                  <a:lnTo>
                    <a:pt x="9792" y="370"/>
                  </a:lnTo>
                  <a:lnTo>
                    <a:pt x="9802" y="378"/>
                  </a:lnTo>
                  <a:lnTo>
                    <a:pt x="9811" y="385"/>
                  </a:lnTo>
                  <a:lnTo>
                    <a:pt x="9821" y="394"/>
                  </a:lnTo>
                  <a:lnTo>
                    <a:pt x="9829" y="402"/>
                  </a:lnTo>
                  <a:lnTo>
                    <a:pt x="9837" y="411"/>
                  </a:lnTo>
                  <a:lnTo>
                    <a:pt x="9843" y="420"/>
                  </a:lnTo>
                  <a:lnTo>
                    <a:pt x="9850" y="430"/>
                  </a:lnTo>
                  <a:lnTo>
                    <a:pt x="9856" y="440"/>
                  </a:lnTo>
                  <a:lnTo>
                    <a:pt x="9862" y="450"/>
                  </a:lnTo>
                  <a:lnTo>
                    <a:pt x="9871" y="472"/>
                  </a:lnTo>
                  <a:lnTo>
                    <a:pt x="9878" y="493"/>
                  </a:lnTo>
                  <a:lnTo>
                    <a:pt x="9883" y="515"/>
                  </a:lnTo>
                  <a:lnTo>
                    <a:pt x="9887" y="538"/>
                  </a:lnTo>
                  <a:lnTo>
                    <a:pt x="9888" y="560"/>
                  </a:lnTo>
                  <a:lnTo>
                    <a:pt x="9889" y="584"/>
                  </a:lnTo>
                  <a:lnTo>
                    <a:pt x="9731" y="584"/>
                  </a:lnTo>
                  <a:lnTo>
                    <a:pt x="9731" y="561"/>
                  </a:lnTo>
                  <a:lnTo>
                    <a:pt x="9728" y="537"/>
                  </a:lnTo>
                  <a:lnTo>
                    <a:pt x="9726" y="525"/>
                  </a:lnTo>
                  <a:lnTo>
                    <a:pt x="9723" y="512"/>
                  </a:lnTo>
                  <a:lnTo>
                    <a:pt x="9718" y="500"/>
                  </a:lnTo>
                  <a:lnTo>
                    <a:pt x="9713" y="489"/>
                  </a:lnTo>
                  <a:lnTo>
                    <a:pt x="9707" y="478"/>
                  </a:lnTo>
                  <a:lnTo>
                    <a:pt x="9699" y="468"/>
                  </a:lnTo>
                  <a:lnTo>
                    <a:pt x="9690" y="459"/>
                  </a:lnTo>
                  <a:lnTo>
                    <a:pt x="9680" y="451"/>
                  </a:lnTo>
                  <a:lnTo>
                    <a:pt x="9667" y="445"/>
                  </a:lnTo>
                  <a:lnTo>
                    <a:pt x="9653" y="440"/>
                  </a:lnTo>
                  <a:lnTo>
                    <a:pt x="9646" y="439"/>
                  </a:lnTo>
                  <a:lnTo>
                    <a:pt x="9637" y="437"/>
                  </a:lnTo>
                  <a:lnTo>
                    <a:pt x="9628" y="436"/>
                  </a:lnTo>
                  <a:lnTo>
                    <a:pt x="9619" y="436"/>
                  </a:lnTo>
                  <a:lnTo>
                    <a:pt x="9603" y="437"/>
                  </a:lnTo>
                  <a:lnTo>
                    <a:pt x="9587" y="440"/>
                  </a:lnTo>
                  <a:lnTo>
                    <a:pt x="9572" y="445"/>
                  </a:lnTo>
                  <a:lnTo>
                    <a:pt x="9558" y="451"/>
                  </a:lnTo>
                  <a:lnTo>
                    <a:pt x="9544" y="460"/>
                  </a:lnTo>
                  <a:lnTo>
                    <a:pt x="9532" y="471"/>
                  </a:lnTo>
                  <a:lnTo>
                    <a:pt x="9521" y="483"/>
                  </a:lnTo>
                  <a:lnTo>
                    <a:pt x="9511" y="496"/>
                  </a:lnTo>
                  <a:lnTo>
                    <a:pt x="9501" y="512"/>
                  </a:lnTo>
                  <a:lnTo>
                    <a:pt x="9494" y="528"/>
                  </a:lnTo>
                  <a:lnTo>
                    <a:pt x="9486" y="547"/>
                  </a:lnTo>
                  <a:lnTo>
                    <a:pt x="9481" y="567"/>
                  </a:lnTo>
                  <a:lnTo>
                    <a:pt x="9477" y="588"/>
                  </a:lnTo>
                  <a:lnTo>
                    <a:pt x="9473" y="611"/>
                  </a:lnTo>
                  <a:lnTo>
                    <a:pt x="9471" y="634"/>
                  </a:lnTo>
                  <a:lnTo>
                    <a:pt x="9470" y="659"/>
                  </a:lnTo>
                  <a:lnTo>
                    <a:pt x="9471" y="686"/>
                  </a:lnTo>
                  <a:lnTo>
                    <a:pt x="9473" y="714"/>
                  </a:lnTo>
                  <a:lnTo>
                    <a:pt x="9478" y="742"/>
                  </a:lnTo>
                  <a:lnTo>
                    <a:pt x="9483" y="771"/>
                  </a:lnTo>
                  <a:lnTo>
                    <a:pt x="9487" y="785"/>
                  </a:lnTo>
                  <a:lnTo>
                    <a:pt x="9492" y="799"/>
                  </a:lnTo>
                  <a:lnTo>
                    <a:pt x="9496" y="812"/>
                  </a:lnTo>
                  <a:lnTo>
                    <a:pt x="9501" y="825"/>
                  </a:lnTo>
                  <a:lnTo>
                    <a:pt x="9508" y="838"/>
                  </a:lnTo>
                  <a:lnTo>
                    <a:pt x="9514" y="851"/>
                  </a:lnTo>
                  <a:lnTo>
                    <a:pt x="9522" y="864"/>
                  </a:lnTo>
                  <a:lnTo>
                    <a:pt x="9529" y="877"/>
                  </a:lnTo>
                  <a:lnTo>
                    <a:pt x="9538" y="888"/>
                  </a:lnTo>
                  <a:lnTo>
                    <a:pt x="9547" y="899"/>
                  </a:lnTo>
                  <a:lnTo>
                    <a:pt x="9557" y="910"/>
                  </a:lnTo>
                  <a:lnTo>
                    <a:pt x="9568" y="920"/>
                  </a:lnTo>
                  <a:lnTo>
                    <a:pt x="9579" y="930"/>
                  </a:lnTo>
                  <a:lnTo>
                    <a:pt x="9591" y="939"/>
                  </a:lnTo>
                  <a:lnTo>
                    <a:pt x="9604" y="947"/>
                  </a:lnTo>
                  <a:lnTo>
                    <a:pt x="9618" y="955"/>
                  </a:lnTo>
                  <a:lnTo>
                    <a:pt x="9633" y="962"/>
                  </a:lnTo>
                  <a:lnTo>
                    <a:pt x="9648" y="967"/>
                  </a:lnTo>
                  <a:lnTo>
                    <a:pt x="9665" y="973"/>
                  </a:lnTo>
                  <a:lnTo>
                    <a:pt x="9682" y="977"/>
                  </a:lnTo>
                  <a:lnTo>
                    <a:pt x="9700" y="981"/>
                  </a:lnTo>
                  <a:lnTo>
                    <a:pt x="9719" y="983"/>
                  </a:lnTo>
                  <a:lnTo>
                    <a:pt x="9740" y="984"/>
                  </a:lnTo>
                  <a:lnTo>
                    <a:pt x="9760" y="986"/>
                  </a:lnTo>
                  <a:lnTo>
                    <a:pt x="9789" y="984"/>
                  </a:lnTo>
                  <a:lnTo>
                    <a:pt x="9818" y="982"/>
                  </a:lnTo>
                  <a:lnTo>
                    <a:pt x="9833" y="980"/>
                  </a:lnTo>
                  <a:lnTo>
                    <a:pt x="9848" y="978"/>
                  </a:lnTo>
                  <a:lnTo>
                    <a:pt x="9863" y="975"/>
                  </a:lnTo>
                  <a:lnTo>
                    <a:pt x="9878" y="971"/>
                  </a:lnTo>
                  <a:lnTo>
                    <a:pt x="9878" y="1066"/>
                  </a:lnTo>
                  <a:close/>
                  <a:moveTo>
                    <a:pt x="8608" y="346"/>
                  </a:moveTo>
                  <a:lnTo>
                    <a:pt x="8745" y="346"/>
                  </a:lnTo>
                  <a:lnTo>
                    <a:pt x="8745" y="502"/>
                  </a:lnTo>
                  <a:lnTo>
                    <a:pt x="8749" y="502"/>
                  </a:lnTo>
                  <a:lnTo>
                    <a:pt x="8754" y="490"/>
                  </a:lnTo>
                  <a:lnTo>
                    <a:pt x="8759" y="477"/>
                  </a:lnTo>
                  <a:lnTo>
                    <a:pt x="8766" y="463"/>
                  </a:lnTo>
                  <a:lnTo>
                    <a:pt x="8774" y="449"/>
                  </a:lnTo>
                  <a:lnTo>
                    <a:pt x="8783" y="434"/>
                  </a:lnTo>
                  <a:lnTo>
                    <a:pt x="8794" y="420"/>
                  </a:lnTo>
                  <a:lnTo>
                    <a:pt x="8805" y="406"/>
                  </a:lnTo>
                  <a:lnTo>
                    <a:pt x="8818" y="393"/>
                  </a:lnTo>
                  <a:lnTo>
                    <a:pt x="8832" y="380"/>
                  </a:lnTo>
                  <a:lnTo>
                    <a:pt x="8848" y="367"/>
                  </a:lnTo>
                  <a:lnTo>
                    <a:pt x="8865" y="356"/>
                  </a:lnTo>
                  <a:lnTo>
                    <a:pt x="8884" y="347"/>
                  </a:lnTo>
                  <a:lnTo>
                    <a:pt x="8895" y="343"/>
                  </a:lnTo>
                  <a:lnTo>
                    <a:pt x="8906" y="339"/>
                  </a:lnTo>
                  <a:lnTo>
                    <a:pt x="8917" y="336"/>
                  </a:lnTo>
                  <a:lnTo>
                    <a:pt x="8928" y="334"/>
                  </a:lnTo>
                  <a:lnTo>
                    <a:pt x="8941" y="332"/>
                  </a:lnTo>
                  <a:lnTo>
                    <a:pt x="8954" y="330"/>
                  </a:lnTo>
                  <a:lnTo>
                    <a:pt x="8967" y="328"/>
                  </a:lnTo>
                  <a:lnTo>
                    <a:pt x="8981" y="328"/>
                  </a:lnTo>
                  <a:lnTo>
                    <a:pt x="8996" y="328"/>
                  </a:lnTo>
                  <a:lnTo>
                    <a:pt x="9011" y="331"/>
                  </a:lnTo>
                  <a:lnTo>
                    <a:pt x="9024" y="333"/>
                  </a:lnTo>
                  <a:lnTo>
                    <a:pt x="9037" y="335"/>
                  </a:lnTo>
                  <a:lnTo>
                    <a:pt x="9050" y="339"/>
                  </a:lnTo>
                  <a:lnTo>
                    <a:pt x="9062" y="343"/>
                  </a:lnTo>
                  <a:lnTo>
                    <a:pt x="9073" y="348"/>
                  </a:lnTo>
                  <a:lnTo>
                    <a:pt x="9082" y="353"/>
                  </a:lnTo>
                  <a:lnTo>
                    <a:pt x="9092" y="359"/>
                  </a:lnTo>
                  <a:lnTo>
                    <a:pt x="9101" y="366"/>
                  </a:lnTo>
                  <a:lnTo>
                    <a:pt x="9109" y="373"/>
                  </a:lnTo>
                  <a:lnTo>
                    <a:pt x="9118" y="381"/>
                  </a:lnTo>
                  <a:lnTo>
                    <a:pt x="9124" y="389"/>
                  </a:lnTo>
                  <a:lnTo>
                    <a:pt x="9130" y="397"/>
                  </a:lnTo>
                  <a:lnTo>
                    <a:pt x="9137" y="406"/>
                  </a:lnTo>
                  <a:lnTo>
                    <a:pt x="9142" y="415"/>
                  </a:lnTo>
                  <a:lnTo>
                    <a:pt x="9152" y="434"/>
                  </a:lnTo>
                  <a:lnTo>
                    <a:pt x="9159" y="453"/>
                  </a:lnTo>
                  <a:lnTo>
                    <a:pt x="9166" y="474"/>
                  </a:lnTo>
                  <a:lnTo>
                    <a:pt x="9170" y="494"/>
                  </a:lnTo>
                  <a:lnTo>
                    <a:pt x="9173" y="513"/>
                  </a:lnTo>
                  <a:lnTo>
                    <a:pt x="9175" y="534"/>
                  </a:lnTo>
                  <a:lnTo>
                    <a:pt x="9176" y="552"/>
                  </a:lnTo>
                  <a:lnTo>
                    <a:pt x="9177" y="570"/>
                  </a:lnTo>
                  <a:lnTo>
                    <a:pt x="9177" y="1076"/>
                  </a:lnTo>
                  <a:lnTo>
                    <a:pt x="9039" y="1076"/>
                  </a:lnTo>
                  <a:lnTo>
                    <a:pt x="9039" y="677"/>
                  </a:lnTo>
                  <a:lnTo>
                    <a:pt x="9038" y="629"/>
                  </a:lnTo>
                  <a:lnTo>
                    <a:pt x="9037" y="587"/>
                  </a:lnTo>
                  <a:lnTo>
                    <a:pt x="9036" y="569"/>
                  </a:lnTo>
                  <a:lnTo>
                    <a:pt x="9034" y="551"/>
                  </a:lnTo>
                  <a:lnTo>
                    <a:pt x="9031" y="536"/>
                  </a:lnTo>
                  <a:lnTo>
                    <a:pt x="9027" y="521"/>
                  </a:lnTo>
                  <a:lnTo>
                    <a:pt x="9021" y="509"/>
                  </a:lnTo>
                  <a:lnTo>
                    <a:pt x="9015" y="497"/>
                  </a:lnTo>
                  <a:lnTo>
                    <a:pt x="9011" y="493"/>
                  </a:lnTo>
                  <a:lnTo>
                    <a:pt x="9006" y="489"/>
                  </a:lnTo>
                  <a:lnTo>
                    <a:pt x="9002" y="484"/>
                  </a:lnTo>
                  <a:lnTo>
                    <a:pt x="8997" y="480"/>
                  </a:lnTo>
                  <a:lnTo>
                    <a:pt x="8991" y="477"/>
                  </a:lnTo>
                  <a:lnTo>
                    <a:pt x="8985" y="475"/>
                  </a:lnTo>
                  <a:lnTo>
                    <a:pt x="8979" y="473"/>
                  </a:lnTo>
                  <a:lnTo>
                    <a:pt x="8972" y="471"/>
                  </a:lnTo>
                  <a:lnTo>
                    <a:pt x="8957" y="467"/>
                  </a:lnTo>
                  <a:lnTo>
                    <a:pt x="8939" y="466"/>
                  </a:lnTo>
                  <a:lnTo>
                    <a:pt x="8928" y="467"/>
                  </a:lnTo>
                  <a:lnTo>
                    <a:pt x="8919" y="468"/>
                  </a:lnTo>
                  <a:lnTo>
                    <a:pt x="8908" y="471"/>
                  </a:lnTo>
                  <a:lnTo>
                    <a:pt x="8898" y="474"/>
                  </a:lnTo>
                  <a:lnTo>
                    <a:pt x="8889" y="477"/>
                  </a:lnTo>
                  <a:lnTo>
                    <a:pt x="8879" y="482"/>
                  </a:lnTo>
                  <a:lnTo>
                    <a:pt x="8869" y="487"/>
                  </a:lnTo>
                  <a:lnTo>
                    <a:pt x="8861" y="493"/>
                  </a:lnTo>
                  <a:lnTo>
                    <a:pt x="8852" y="499"/>
                  </a:lnTo>
                  <a:lnTo>
                    <a:pt x="8844" y="507"/>
                  </a:lnTo>
                  <a:lnTo>
                    <a:pt x="8835" y="514"/>
                  </a:lnTo>
                  <a:lnTo>
                    <a:pt x="8828" y="523"/>
                  </a:lnTo>
                  <a:lnTo>
                    <a:pt x="8820" y="531"/>
                  </a:lnTo>
                  <a:lnTo>
                    <a:pt x="8813" y="541"/>
                  </a:lnTo>
                  <a:lnTo>
                    <a:pt x="8806" y="552"/>
                  </a:lnTo>
                  <a:lnTo>
                    <a:pt x="8800" y="561"/>
                  </a:lnTo>
                  <a:lnTo>
                    <a:pt x="8787" y="584"/>
                  </a:lnTo>
                  <a:lnTo>
                    <a:pt x="8776" y="607"/>
                  </a:lnTo>
                  <a:lnTo>
                    <a:pt x="8768" y="632"/>
                  </a:lnTo>
                  <a:lnTo>
                    <a:pt x="8760" y="658"/>
                  </a:lnTo>
                  <a:lnTo>
                    <a:pt x="8754" y="684"/>
                  </a:lnTo>
                  <a:lnTo>
                    <a:pt x="8750" y="711"/>
                  </a:lnTo>
                  <a:lnTo>
                    <a:pt x="8747" y="739"/>
                  </a:lnTo>
                  <a:lnTo>
                    <a:pt x="8745" y="767"/>
                  </a:lnTo>
                  <a:lnTo>
                    <a:pt x="8745" y="1076"/>
                  </a:lnTo>
                  <a:lnTo>
                    <a:pt x="8608" y="1076"/>
                  </a:lnTo>
                  <a:lnTo>
                    <a:pt x="8608" y="346"/>
                  </a:lnTo>
                  <a:close/>
                  <a:moveTo>
                    <a:pt x="8259" y="749"/>
                  </a:moveTo>
                  <a:lnTo>
                    <a:pt x="8238" y="749"/>
                  </a:lnTo>
                  <a:lnTo>
                    <a:pt x="8218" y="752"/>
                  </a:lnTo>
                  <a:lnTo>
                    <a:pt x="8198" y="755"/>
                  </a:lnTo>
                  <a:lnTo>
                    <a:pt x="8179" y="758"/>
                  </a:lnTo>
                  <a:lnTo>
                    <a:pt x="8160" y="763"/>
                  </a:lnTo>
                  <a:lnTo>
                    <a:pt x="8142" y="770"/>
                  </a:lnTo>
                  <a:lnTo>
                    <a:pt x="8124" y="777"/>
                  </a:lnTo>
                  <a:lnTo>
                    <a:pt x="8108" y="786"/>
                  </a:lnTo>
                  <a:lnTo>
                    <a:pt x="8094" y="795"/>
                  </a:lnTo>
                  <a:lnTo>
                    <a:pt x="8081" y="806"/>
                  </a:lnTo>
                  <a:lnTo>
                    <a:pt x="8069" y="818"/>
                  </a:lnTo>
                  <a:lnTo>
                    <a:pt x="8059" y="831"/>
                  </a:lnTo>
                  <a:lnTo>
                    <a:pt x="8055" y="837"/>
                  </a:lnTo>
                  <a:lnTo>
                    <a:pt x="8052" y="845"/>
                  </a:lnTo>
                  <a:lnTo>
                    <a:pt x="8049" y="851"/>
                  </a:lnTo>
                  <a:lnTo>
                    <a:pt x="8045" y="858"/>
                  </a:lnTo>
                  <a:lnTo>
                    <a:pt x="8043" y="867"/>
                  </a:lnTo>
                  <a:lnTo>
                    <a:pt x="8042" y="874"/>
                  </a:lnTo>
                  <a:lnTo>
                    <a:pt x="8041" y="883"/>
                  </a:lnTo>
                  <a:lnTo>
                    <a:pt x="8041" y="892"/>
                  </a:lnTo>
                  <a:lnTo>
                    <a:pt x="8041" y="902"/>
                  </a:lnTo>
                  <a:lnTo>
                    <a:pt x="8042" y="912"/>
                  </a:lnTo>
                  <a:lnTo>
                    <a:pt x="8044" y="921"/>
                  </a:lnTo>
                  <a:lnTo>
                    <a:pt x="8047" y="930"/>
                  </a:lnTo>
                  <a:lnTo>
                    <a:pt x="8051" y="939"/>
                  </a:lnTo>
                  <a:lnTo>
                    <a:pt x="8055" y="946"/>
                  </a:lnTo>
                  <a:lnTo>
                    <a:pt x="8059" y="953"/>
                  </a:lnTo>
                  <a:lnTo>
                    <a:pt x="8065" y="960"/>
                  </a:lnTo>
                  <a:lnTo>
                    <a:pt x="8071" y="965"/>
                  </a:lnTo>
                  <a:lnTo>
                    <a:pt x="8077" y="971"/>
                  </a:lnTo>
                  <a:lnTo>
                    <a:pt x="8084" y="975"/>
                  </a:lnTo>
                  <a:lnTo>
                    <a:pt x="8090" y="979"/>
                  </a:lnTo>
                  <a:lnTo>
                    <a:pt x="8098" y="981"/>
                  </a:lnTo>
                  <a:lnTo>
                    <a:pt x="8105" y="983"/>
                  </a:lnTo>
                  <a:lnTo>
                    <a:pt x="8113" y="984"/>
                  </a:lnTo>
                  <a:lnTo>
                    <a:pt x="8120" y="986"/>
                  </a:lnTo>
                  <a:lnTo>
                    <a:pt x="8130" y="986"/>
                  </a:lnTo>
                  <a:lnTo>
                    <a:pt x="8138" y="984"/>
                  </a:lnTo>
                  <a:lnTo>
                    <a:pt x="8147" y="982"/>
                  </a:lnTo>
                  <a:lnTo>
                    <a:pt x="8154" y="980"/>
                  </a:lnTo>
                  <a:lnTo>
                    <a:pt x="8171" y="975"/>
                  </a:lnTo>
                  <a:lnTo>
                    <a:pt x="8186" y="967"/>
                  </a:lnTo>
                  <a:lnTo>
                    <a:pt x="8201" y="958"/>
                  </a:lnTo>
                  <a:lnTo>
                    <a:pt x="8214" y="946"/>
                  </a:lnTo>
                  <a:lnTo>
                    <a:pt x="8227" y="934"/>
                  </a:lnTo>
                  <a:lnTo>
                    <a:pt x="8239" y="920"/>
                  </a:lnTo>
                  <a:lnTo>
                    <a:pt x="8249" y="905"/>
                  </a:lnTo>
                  <a:lnTo>
                    <a:pt x="8259" y="890"/>
                  </a:lnTo>
                  <a:lnTo>
                    <a:pt x="8267" y="873"/>
                  </a:lnTo>
                  <a:lnTo>
                    <a:pt x="8274" y="857"/>
                  </a:lnTo>
                  <a:lnTo>
                    <a:pt x="8279" y="840"/>
                  </a:lnTo>
                  <a:lnTo>
                    <a:pt x="8283" y="823"/>
                  </a:lnTo>
                  <a:lnTo>
                    <a:pt x="8286" y="807"/>
                  </a:lnTo>
                  <a:lnTo>
                    <a:pt x="8286" y="790"/>
                  </a:lnTo>
                  <a:lnTo>
                    <a:pt x="8286" y="749"/>
                  </a:lnTo>
                  <a:lnTo>
                    <a:pt x="8259" y="749"/>
                  </a:lnTo>
                  <a:close/>
                  <a:moveTo>
                    <a:pt x="8286" y="986"/>
                  </a:moveTo>
                  <a:lnTo>
                    <a:pt x="8284" y="986"/>
                  </a:lnTo>
                  <a:lnTo>
                    <a:pt x="8279" y="993"/>
                  </a:lnTo>
                  <a:lnTo>
                    <a:pt x="8274" y="1002"/>
                  </a:lnTo>
                  <a:lnTo>
                    <a:pt x="8269" y="1010"/>
                  </a:lnTo>
                  <a:lnTo>
                    <a:pt x="8261" y="1019"/>
                  </a:lnTo>
                  <a:lnTo>
                    <a:pt x="8254" y="1028"/>
                  </a:lnTo>
                  <a:lnTo>
                    <a:pt x="8245" y="1037"/>
                  </a:lnTo>
                  <a:lnTo>
                    <a:pt x="8235" y="1045"/>
                  </a:lnTo>
                  <a:lnTo>
                    <a:pt x="8224" y="1054"/>
                  </a:lnTo>
                  <a:lnTo>
                    <a:pt x="8212" y="1062"/>
                  </a:lnTo>
                  <a:lnTo>
                    <a:pt x="8198" y="1070"/>
                  </a:lnTo>
                  <a:lnTo>
                    <a:pt x="8184" y="1076"/>
                  </a:lnTo>
                  <a:lnTo>
                    <a:pt x="8168" y="1082"/>
                  </a:lnTo>
                  <a:lnTo>
                    <a:pt x="8152" y="1086"/>
                  </a:lnTo>
                  <a:lnTo>
                    <a:pt x="8134" y="1090"/>
                  </a:lnTo>
                  <a:lnTo>
                    <a:pt x="8115" y="1092"/>
                  </a:lnTo>
                  <a:lnTo>
                    <a:pt x="8094" y="1092"/>
                  </a:lnTo>
                  <a:lnTo>
                    <a:pt x="8070" y="1092"/>
                  </a:lnTo>
                  <a:lnTo>
                    <a:pt x="8046" y="1089"/>
                  </a:lnTo>
                  <a:lnTo>
                    <a:pt x="8024" y="1085"/>
                  </a:lnTo>
                  <a:lnTo>
                    <a:pt x="8005" y="1078"/>
                  </a:lnTo>
                  <a:lnTo>
                    <a:pt x="7985" y="1070"/>
                  </a:lnTo>
                  <a:lnTo>
                    <a:pt x="7968" y="1060"/>
                  </a:lnTo>
                  <a:lnTo>
                    <a:pt x="7953" y="1050"/>
                  </a:lnTo>
                  <a:lnTo>
                    <a:pt x="7939" y="1037"/>
                  </a:lnTo>
                  <a:lnTo>
                    <a:pt x="7928" y="1024"/>
                  </a:lnTo>
                  <a:lnTo>
                    <a:pt x="7917" y="1009"/>
                  </a:lnTo>
                  <a:lnTo>
                    <a:pt x="7907" y="992"/>
                  </a:lnTo>
                  <a:lnTo>
                    <a:pt x="7900" y="975"/>
                  </a:lnTo>
                  <a:lnTo>
                    <a:pt x="7895" y="957"/>
                  </a:lnTo>
                  <a:lnTo>
                    <a:pt x="7890" y="937"/>
                  </a:lnTo>
                  <a:lnTo>
                    <a:pt x="7888" y="917"/>
                  </a:lnTo>
                  <a:lnTo>
                    <a:pt x="7887" y="897"/>
                  </a:lnTo>
                  <a:lnTo>
                    <a:pt x="7888" y="879"/>
                  </a:lnTo>
                  <a:lnTo>
                    <a:pt x="7889" y="862"/>
                  </a:lnTo>
                  <a:lnTo>
                    <a:pt x="7892" y="846"/>
                  </a:lnTo>
                  <a:lnTo>
                    <a:pt x="7897" y="831"/>
                  </a:lnTo>
                  <a:lnTo>
                    <a:pt x="7902" y="816"/>
                  </a:lnTo>
                  <a:lnTo>
                    <a:pt x="7908" y="803"/>
                  </a:lnTo>
                  <a:lnTo>
                    <a:pt x="7915" y="790"/>
                  </a:lnTo>
                  <a:lnTo>
                    <a:pt x="7923" y="777"/>
                  </a:lnTo>
                  <a:lnTo>
                    <a:pt x="7932" y="765"/>
                  </a:lnTo>
                  <a:lnTo>
                    <a:pt x="7943" y="755"/>
                  </a:lnTo>
                  <a:lnTo>
                    <a:pt x="7953" y="745"/>
                  </a:lnTo>
                  <a:lnTo>
                    <a:pt x="7964" y="736"/>
                  </a:lnTo>
                  <a:lnTo>
                    <a:pt x="7977" y="727"/>
                  </a:lnTo>
                  <a:lnTo>
                    <a:pt x="7990" y="718"/>
                  </a:lnTo>
                  <a:lnTo>
                    <a:pt x="8003" y="711"/>
                  </a:lnTo>
                  <a:lnTo>
                    <a:pt x="8018" y="705"/>
                  </a:lnTo>
                  <a:lnTo>
                    <a:pt x="8031" y="698"/>
                  </a:lnTo>
                  <a:lnTo>
                    <a:pt x="8046" y="692"/>
                  </a:lnTo>
                  <a:lnTo>
                    <a:pt x="8062" y="686"/>
                  </a:lnTo>
                  <a:lnTo>
                    <a:pt x="8078" y="682"/>
                  </a:lnTo>
                  <a:lnTo>
                    <a:pt x="8112" y="674"/>
                  </a:lnTo>
                  <a:lnTo>
                    <a:pt x="8146" y="667"/>
                  </a:lnTo>
                  <a:lnTo>
                    <a:pt x="8180" y="663"/>
                  </a:lnTo>
                  <a:lnTo>
                    <a:pt x="8215" y="660"/>
                  </a:lnTo>
                  <a:lnTo>
                    <a:pt x="8252" y="658"/>
                  </a:lnTo>
                  <a:lnTo>
                    <a:pt x="8286" y="656"/>
                  </a:lnTo>
                  <a:lnTo>
                    <a:pt x="8286" y="529"/>
                  </a:lnTo>
                  <a:lnTo>
                    <a:pt x="8284" y="517"/>
                  </a:lnTo>
                  <a:lnTo>
                    <a:pt x="8280" y="505"/>
                  </a:lnTo>
                  <a:lnTo>
                    <a:pt x="8276" y="495"/>
                  </a:lnTo>
                  <a:lnTo>
                    <a:pt x="8271" y="486"/>
                  </a:lnTo>
                  <a:lnTo>
                    <a:pt x="8266" y="477"/>
                  </a:lnTo>
                  <a:lnTo>
                    <a:pt x="8259" y="468"/>
                  </a:lnTo>
                  <a:lnTo>
                    <a:pt x="8253" y="462"/>
                  </a:lnTo>
                  <a:lnTo>
                    <a:pt x="8245" y="457"/>
                  </a:lnTo>
                  <a:lnTo>
                    <a:pt x="8238" y="451"/>
                  </a:lnTo>
                  <a:lnTo>
                    <a:pt x="8229" y="447"/>
                  </a:lnTo>
                  <a:lnTo>
                    <a:pt x="8221" y="444"/>
                  </a:lnTo>
                  <a:lnTo>
                    <a:pt x="8212" y="441"/>
                  </a:lnTo>
                  <a:lnTo>
                    <a:pt x="8202" y="439"/>
                  </a:lnTo>
                  <a:lnTo>
                    <a:pt x="8194" y="437"/>
                  </a:lnTo>
                  <a:lnTo>
                    <a:pt x="8184" y="436"/>
                  </a:lnTo>
                  <a:lnTo>
                    <a:pt x="8175" y="436"/>
                  </a:lnTo>
                  <a:lnTo>
                    <a:pt x="8160" y="436"/>
                  </a:lnTo>
                  <a:lnTo>
                    <a:pt x="8146" y="439"/>
                  </a:lnTo>
                  <a:lnTo>
                    <a:pt x="8133" y="442"/>
                  </a:lnTo>
                  <a:lnTo>
                    <a:pt x="8121" y="445"/>
                  </a:lnTo>
                  <a:lnTo>
                    <a:pt x="8111" y="450"/>
                  </a:lnTo>
                  <a:lnTo>
                    <a:pt x="8101" y="456"/>
                  </a:lnTo>
                  <a:lnTo>
                    <a:pt x="8092" y="463"/>
                  </a:lnTo>
                  <a:lnTo>
                    <a:pt x="8085" y="471"/>
                  </a:lnTo>
                  <a:lnTo>
                    <a:pt x="8078" y="478"/>
                  </a:lnTo>
                  <a:lnTo>
                    <a:pt x="8072" y="487"/>
                  </a:lnTo>
                  <a:lnTo>
                    <a:pt x="8068" y="496"/>
                  </a:lnTo>
                  <a:lnTo>
                    <a:pt x="8063" y="506"/>
                  </a:lnTo>
                  <a:lnTo>
                    <a:pt x="8061" y="517"/>
                  </a:lnTo>
                  <a:lnTo>
                    <a:pt x="8059" y="526"/>
                  </a:lnTo>
                  <a:lnTo>
                    <a:pt x="8058" y="537"/>
                  </a:lnTo>
                  <a:lnTo>
                    <a:pt x="8057" y="547"/>
                  </a:lnTo>
                  <a:lnTo>
                    <a:pt x="7912" y="547"/>
                  </a:lnTo>
                  <a:lnTo>
                    <a:pt x="7913" y="526"/>
                  </a:lnTo>
                  <a:lnTo>
                    <a:pt x="7915" y="505"/>
                  </a:lnTo>
                  <a:lnTo>
                    <a:pt x="7919" y="484"/>
                  </a:lnTo>
                  <a:lnTo>
                    <a:pt x="7926" y="464"/>
                  </a:lnTo>
                  <a:lnTo>
                    <a:pt x="7930" y="455"/>
                  </a:lnTo>
                  <a:lnTo>
                    <a:pt x="7934" y="446"/>
                  </a:lnTo>
                  <a:lnTo>
                    <a:pt x="7938" y="436"/>
                  </a:lnTo>
                  <a:lnTo>
                    <a:pt x="7944" y="428"/>
                  </a:lnTo>
                  <a:lnTo>
                    <a:pt x="7950" y="418"/>
                  </a:lnTo>
                  <a:lnTo>
                    <a:pt x="7957" y="411"/>
                  </a:lnTo>
                  <a:lnTo>
                    <a:pt x="7964" y="402"/>
                  </a:lnTo>
                  <a:lnTo>
                    <a:pt x="7972" y="395"/>
                  </a:lnTo>
                  <a:lnTo>
                    <a:pt x="7980" y="387"/>
                  </a:lnTo>
                  <a:lnTo>
                    <a:pt x="7989" y="380"/>
                  </a:lnTo>
                  <a:lnTo>
                    <a:pt x="7998" y="373"/>
                  </a:lnTo>
                  <a:lnTo>
                    <a:pt x="8009" y="367"/>
                  </a:lnTo>
                  <a:lnTo>
                    <a:pt x="8020" y="362"/>
                  </a:lnTo>
                  <a:lnTo>
                    <a:pt x="8031" y="356"/>
                  </a:lnTo>
                  <a:lnTo>
                    <a:pt x="8043" y="351"/>
                  </a:lnTo>
                  <a:lnTo>
                    <a:pt x="8056" y="347"/>
                  </a:lnTo>
                  <a:lnTo>
                    <a:pt x="8070" y="342"/>
                  </a:lnTo>
                  <a:lnTo>
                    <a:pt x="8084" y="339"/>
                  </a:lnTo>
                  <a:lnTo>
                    <a:pt x="8099" y="336"/>
                  </a:lnTo>
                  <a:lnTo>
                    <a:pt x="8115" y="333"/>
                  </a:lnTo>
                  <a:lnTo>
                    <a:pt x="8131" y="332"/>
                  </a:lnTo>
                  <a:lnTo>
                    <a:pt x="8148" y="330"/>
                  </a:lnTo>
                  <a:lnTo>
                    <a:pt x="8166" y="328"/>
                  </a:lnTo>
                  <a:lnTo>
                    <a:pt x="8185" y="328"/>
                  </a:lnTo>
                  <a:lnTo>
                    <a:pt x="8207" y="330"/>
                  </a:lnTo>
                  <a:lnTo>
                    <a:pt x="8227" y="331"/>
                  </a:lnTo>
                  <a:lnTo>
                    <a:pt x="8246" y="333"/>
                  </a:lnTo>
                  <a:lnTo>
                    <a:pt x="8264" y="336"/>
                  </a:lnTo>
                  <a:lnTo>
                    <a:pt x="8280" y="340"/>
                  </a:lnTo>
                  <a:lnTo>
                    <a:pt x="8295" y="346"/>
                  </a:lnTo>
                  <a:lnTo>
                    <a:pt x="8310" y="351"/>
                  </a:lnTo>
                  <a:lnTo>
                    <a:pt x="8323" y="357"/>
                  </a:lnTo>
                  <a:lnTo>
                    <a:pt x="8335" y="365"/>
                  </a:lnTo>
                  <a:lnTo>
                    <a:pt x="8347" y="372"/>
                  </a:lnTo>
                  <a:lnTo>
                    <a:pt x="8356" y="381"/>
                  </a:lnTo>
                  <a:lnTo>
                    <a:pt x="8366" y="389"/>
                  </a:lnTo>
                  <a:lnTo>
                    <a:pt x="8375" y="398"/>
                  </a:lnTo>
                  <a:lnTo>
                    <a:pt x="8382" y="408"/>
                  </a:lnTo>
                  <a:lnTo>
                    <a:pt x="8388" y="417"/>
                  </a:lnTo>
                  <a:lnTo>
                    <a:pt x="8395" y="427"/>
                  </a:lnTo>
                  <a:lnTo>
                    <a:pt x="8400" y="436"/>
                  </a:lnTo>
                  <a:lnTo>
                    <a:pt x="8404" y="447"/>
                  </a:lnTo>
                  <a:lnTo>
                    <a:pt x="8409" y="457"/>
                  </a:lnTo>
                  <a:lnTo>
                    <a:pt x="8412" y="467"/>
                  </a:lnTo>
                  <a:lnTo>
                    <a:pt x="8417" y="488"/>
                  </a:lnTo>
                  <a:lnTo>
                    <a:pt x="8421" y="508"/>
                  </a:lnTo>
                  <a:lnTo>
                    <a:pt x="8423" y="527"/>
                  </a:lnTo>
                  <a:lnTo>
                    <a:pt x="8424" y="544"/>
                  </a:lnTo>
                  <a:lnTo>
                    <a:pt x="8425" y="560"/>
                  </a:lnTo>
                  <a:lnTo>
                    <a:pt x="8425" y="574"/>
                  </a:lnTo>
                  <a:lnTo>
                    <a:pt x="8425" y="1076"/>
                  </a:lnTo>
                  <a:lnTo>
                    <a:pt x="8286" y="1076"/>
                  </a:lnTo>
                  <a:lnTo>
                    <a:pt x="8286" y="986"/>
                  </a:lnTo>
                  <a:close/>
                  <a:moveTo>
                    <a:pt x="6807" y="346"/>
                  </a:moveTo>
                  <a:lnTo>
                    <a:pt x="6946" y="346"/>
                  </a:lnTo>
                  <a:lnTo>
                    <a:pt x="6946" y="491"/>
                  </a:lnTo>
                  <a:lnTo>
                    <a:pt x="6949" y="491"/>
                  </a:lnTo>
                  <a:lnTo>
                    <a:pt x="6958" y="467"/>
                  </a:lnTo>
                  <a:lnTo>
                    <a:pt x="6972" y="442"/>
                  </a:lnTo>
                  <a:lnTo>
                    <a:pt x="6980" y="428"/>
                  </a:lnTo>
                  <a:lnTo>
                    <a:pt x="6989" y="414"/>
                  </a:lnTo>
                  <a:lnTo>
                    <a:pt x="6999" y="401"/>
                  </a:lnTo>
                  <a:lnTo>
                    <a:pt x="7011" y="388"/>
                  </a:lnTo>
                  <a:lnTo>
                    <a:pt x="7023" y="375"/>
                  </a:lnTo>
                  <a:lnTo>
                    <a:pt x="7037" y="365"/>
                  </a:lnTo>
                  <a:lnTo>
                    <a:pt x="7052" y="354"/>
                  </a:lnTo>
                  <a:lnTo>
                    <a:pt x="7069" y="346"/>
                  </a:lnTo>
                  <a:lnTo>
                    <a:pt x="7079" y="342"/>
                  </a:lnTo>
                  <a:lnTo>
                    <a:pt x="7087" y="338"/>
                  </a:lnTo>
                  <a:lnTo>
                    <a:pt x="7098" y="336"/>
                  </a:lnTo>
                  <a:lnTo>
                    <a:pt x="7108" y="333"/>
                  </a:lnTo>
                  <a:lnTo>
                    <a:pt x="7118" y="332"/>
                  </a:lnTo>
                  <a:lnTo>
                    <a:pt x="7130" y="330"/>
                  </a:lnTo>
                  <a:lnTo>
                    <a:pt x="7141" y="328"/>
                  </a:lnTo>
                  <a:lnTo>
                    <a:pt x="7154" y="328"/>
                  </a:lnTo>
                  <a:lnTo>
                    <a:pt x="7176" y="330"/>
                  </a:lnTo>
                  <a:lnTo>
                    <a:pt x="7198" y="333"/>
                  </a:lnTo>
                  <a:lnTo>
                    <a:pt x="7218" y="337"/>
                  </a:lnTo>
                  <a:lnTo>
                    <a:pt x="7235" y="343"/>
                  </a:lnTo>
                  <a:lnTo>
                    <a:pt x="7251" y="351"/>
                  </a:lnTo>
                  <a:lnTo>
                    <a:pt x="7266" y="361"/>
                  </a:lnTo>
                  <a:lnTo>
                    <a:pt x="7279" y="370"/>
                  </a:lnTo>
                  <a:lnTo>
                    <a:pt x="7291" y="381"/>
                  </a:lnTo>
                  <a:lnTo>
                    <a:pt x="7301" y="394"/>
                  </a:lnTo>
                  <a:lnTo>
                    <a:pt x="7310" y="405"/>
                  </a:lnTo>
                  <a:lnTo>
                    <a:pt x="7317" y="418"/>
                  </a:lnTo>
                  <a:lnTo>
                    <a:pt x="7324" y="431"/>
                  </a:lnTo>
                  <a:lnTo>
                    <a:pt x="7329" y="445"/>
                  </a:lnTo>
                  <a:lnTo>
                    <a:pt x="7333" y="458"/>
                  </a:lnTo>
                  <a:lnTo>
                    <a:pt x="7337" y="471"/>
                  </a:lnTo>
                  <a:lnTo>
                    <a:pt x="7339" y="483"/>
                  </a:lnTo>
                  <a:lnTo>
                    <a:pt x="7343" y="483"/>
                  </a:lnTo>
                  <a:lnTo>
                    <a:pt x="7347" y="472"/>
                  </a:lnTo>
                  <a:lnTo>
                    <a:pt x="7354" y="459"/>
                  </a:lnTo>
                  <a:lnTo>
                    <a:pt x="7360" y="446"/>
                  </a:lnTo>
                  <a:lnTo>
                    <a:pt x="7368" y="433"/>
                  </a:lnTo>
                  <a:lnTo>
                    <a:pt x="7377" y="420"/>
                  </a:lnTo>
                  <a:lnTo>
                    <a:pt x="7387" y="408"/>
                  </a:lnTo>
                  <a:lnTo>
                    <a:pt x="7397" y="395"/>
                  </a:lnTo>
                  <a:lnTo>
                    <a:pt x="7409" y="383"/>
                  </a:lnTo>
                  <a:lnTo>
                    <a:pt x="7423" y="372"/>
                  </a:lnTo>
                  <a:lnTo>
                    <a:pt x="7437" y="362"/>
                  </a:lnTo>
                  <a:lnTo>
                    <a:pt x="7453" y="352"/>
                  </a:lnTo>
                  <a:lnTo>
                    <a:pt x="7469" y="345"/>
                  </a:lnTo>
                  <a:lnTo>
                    <a:pt x="7487" y="338"/>
                  </a:lnTo>
                  <a:lnTo>
                    <a:pt x="7507" y="333"/>
                  </a:lnTo>
                  <a:lnTo>
                    <a:pt x="7528" y="330"/>
                  </a:lnTo>
                  <a:lnTo>
                    <a:pt x="7549" y="328"/>
                  </a:lnTo>
                  <a:lnTo>
                    <a:pt x="7565" y="328"/>
                  </a:lnTo>
                  <a:lnTo>
                    <a:pt x="7580" y="331"/>
                  </a:lnTo>
                  <a:lnTo>
                    <a:pt x="7594" y="333"/>
                  </a:lnTo>
                  <a:lnTo>
                    <a:pt x="7607" y="335"/>
                  </a:lnTo>
                  <a:lnTo>
                    <a:pt x="7620" y="339"/>
                  </a:lnTo>
                  <a:lnTo>
                    <a:pt x="7632" y="343"/>
                  </a:lnTo>
                  <a:lnTo>
                    <a:pt x="7642" y="348"/>
                  </a:lnTo>
                  <a:lnTo>
                    <a:pt x="7653" y="353"/>
                  </a:lnTo>
                  <a:lnTo>
                    <a:pt x="7663" y="359"/>
                  </a:lnTo>
                  <a:lnTo>
                    <a:pt x="7672" y="366"/>
                  </a:lnTo>
                  <a:lnTo>
                    <a:pt x="7680" y="373"/>
                  </a:lnTo>
                  <a:lnTo>
                    <a:pt x="7688" y="381"/>
                  </a:lnTo>
                  <a:lnTo>
                    <a:pt x="7695" y="389"/>
                  </a:lnTo>
                  <a:lnTo>
                    <a:pt x="7701" y="397"/>
                  </a:lnTo>
                  <a:lnTo>
                    <a:pt x="7707" y="406"/>
                  </a:lnTo>
                  <a:lnTo>
                    <a:pt x="7713" y="415"/>
                  </a:lnTo>
                  <a:lnTo>
                    <a:pt x="7722" y="434"/>
                  </a:lnTo>
                  <a:lnTo>
                    <a:pt x="7730" y="453"/>
                  </a:lnTo>
                  <a:lnTo>
                    <a:pt x="7736" y="474"/>
                  </a:lnTo>
                  <a:lnTo>
                    <a:pt x="7741" y="494"/>
                  </a:lnTo>
                  <a:lnTo>
                    <a:pt x="7744" y="513"/>
                  </a:lnTo>
                  <a:lnTo>
                    <a:pt x="7746" y="534"/>
                  </a:lnTo>
                  <a:lnTo>
                    <a:pt x="7747" y="552"/>
                  </a:lnTo>
                  <a:lnTo>
                    <a:pt x="7748" y="570"/>
                  </a:lnTo>
                  <a:lnTo>
                    <a:pt x="7748" y="1076"/>
                  </a:lnTo>
                  <a:lnTo>
                    <a:pt x="7609" y="1076"/>
                  </a:lnTo>
                  <a:lnTo>
                    <a:pt x="7609" y="677"/>
                  </a:lnTo>
                  <a:lnTo>
                    <a:pt x="7609" y="629"/>
                  </a:lnTo>
                  <a:lnTo>
                    <a:pt x="7608" y="587"/>
                  </a:lnTo>
                  <a:lnTo>
                    <a:pt x="7606" y="568"/>
                  </a:lnTo>
                  <a:lnTo>
                    <a:pt x="7604" y="551"/>
                  </a:lnTo>
                  <a:lnTo>
                    <a:pt x="7601" y="535"/>
                  </a:lnTo>
                  <a:lnTo>
                    <a:pt x="7596" y="521"/>
                  </a:lnTo>
                  <a:lnTo>
                    <a:pt x="7591" y="508"/>
                  </a:lnTo>
                  <a:lnTo>
                    <a:pt x="7585" y="497"/>
                  </a:lnTo>
                  <a:lnTo>
                    <a:pt x="7580" y="492"/>
                  </a:lnTo>
                  <a:lnTo>
                    <a:pt x="7576" y="488"/>
                  </a:lnTo>
                  <a:lnTo>
                    <a:pt x="7572" y="484"/>
                  </a:lnTo>
                  <a:lnTo>
                    <a:pt x="7566" y="480"/>
                  </a:lnTo>
                  <a:lnTo>
                    <a:pt x="7561" y="477"/>
                  </a:lnTo>
                  <a:lnTo>
                    <a:pt x="7555" y="475"/>
                  </a:lnTo>
                  <a:lnTo>
                    <a:pt x="7548" y="472"/>
                  </a:lnTo>
                  <a:lnTo>
                    <a:pt x="7542" y="471"/>
                  </a:lnTo>
                  <a:lnTo>
                    <a:pt x="7526" y="467"/>
                  </a:lnTo>
                  <a:lnTo>
                    <a:pt x="7508" y="466"/>
                  </a:lnTo>
                  <a:lnTo>
                    <a:pt x="7500" y="467"/>
                  </a:lnTo>
                  <a:lnTo>
                    <a:pt x="7492" y="468"/>
                  </a:lnTo>
                  <a:lnTo>
                    <a:pt x="7484" y="471"/>
                  </a:lnTo>
                  <a:lnTo>
                    <a:pt x="7477" y="473"/>
                  </a:lnTo>
                  <a:lnTo>
                    <a:pt x="7469" y="476"/>
                  </a:lnTo>
                  <a:lnTo>
                    <a:pt x="7462" y="480"/>
                  </a:lnTo>
                  <a:lnTo>
                    <a:pt x="7454" y="484"/>
                  </a:lnTo>
                  <a:lnTo>
                    <a:pt x="7447" y="490"/>
                  </a:lnTo>
                  <a:lnTo>
                    <a:pt x="7433" y="503"/>
                  </a:lnTo>
                  <a:lnTo>
                    <a:pt x="7419" y="517"/>
                  </a:lnTo>
                  <a:lnTo>
                    <a:pt x="7407" y="533"/>
                  </a:lnTo>
                  <a:lnTo>
                    <a:pt x="7395" y="551"/>
                  </a:lnTo>
                  <a:lnTo>
                    <a:pt x="7385" y="570"/>
                  </a:lnTo>
                  <a:lnTo>
                    <a:pt x="7375" y="590"/>
                  </a:lnTo>
                  <a:lnTo>
                    <a:pt x="7366" y="612"/>
                  </a:lnTo>
                  <a:lnTo>
                    <a:pt x="7360" y="634"/>
                  </a:lnTo>
                  <a:lnTo>
                    <a:pt x="7355" y="656"/>
                  </a:lnTo>
                  <a:lnTo>
                    <a:pt x="7350" y="680"/>
                  </a:lnTo>
                  <a:lnTo>
                    <a:pt x="7347" y="702"/>
                  </a:lnTo>
                  <a:lnTo>
                    <a:pt x="7347" y="726"/>
                  </a:lnTo>
                  <a:lnTo>
                    <a:pt x="7347" y="1076"/>
                  </a:lnTo>
                  <a:lnTo>
                    <a:pt x="7208" y="1076"/>
                  </a:lnTo>
                  <a:lnTo>
                    <a:pt x="7208" y="677"/>
                  </a:lnTo>
                  <a:lnTo>
                    <a:pt x="7208" y="629"/>
                  </a:lnTo>
                  <a:lnTo>
                    <a:pt x="7207" y="587"/>
                  </a:lnTo>
                  <a:lnTo>
                    <a:pt x="7206" y="569"/>
                  </a:lnTo>
                  <a:lnTo>
                    <a:pt x="7204" y="551"/>
                  </a:lnTo>
                  <a:lnTo>
                    <a:pt x="7201" y="536"/>
                  </a:lnTo>
                  <a:lnTo>
                    <a:pt x="7197" y="521"/>
                  </a:lnTo>
                  <a:lnTo>
                    <a:pt x="7191" y="509"/>
                  </a:lnTo>
                  <a:lnTo>
                    <a:pt x="7185" y="497"/>
                  </a:lnTo>
                  <a:lnTo>
                    <a:pt x="7182" y="493"/>
                  </a:lnTo>
                  <a:lnTo>
                    <a:pt x="7177" y="489"/>
                  </a:lnTo>
                  <a:lnTo>
                    <a:pt x="7173" y="484"/>
                  </a:lnTo>
                  <a:lnTo>
                    <a:pt x="7168" y="480"/>
                  </a:lnTo>
                  <a:lnTo>
                    <a:pt x="7162" y="477"/>
                  </a:lnTo>
                  <a:lnTo>
                    <a:pt x="7157" y="475"/>
                  </a:lnTo>
                  <a:lnTo>
                    <a:pt x="7151" y="473"/>
                  </a:lnTo>
                  <a:lnTo>
                    <a:pt x="7144" y="471"/>
                  </a:lnTo>
                  <a:lnTo>
                    <a:pt x="7129" y="467"/>
                  </a:lnTo>
                  <a:lnTo>
                    <a:pt x="7112" y="466"/>
                  </a:lnTo>
                  <a:lnTo>
                    <a:pt x="7102" y="467"/>
                  </a:lnTo>
                  <a:lnTo>
                    <a:pt x="7094" y="468"/>
                  </a:lnTo>
                  <a:lnTo>
                    <a:pt x="7085" y="471"/>
                  </a:lnTo>
                  <a:lnTo>
                    <a:pt x="7077" y="474"/>
                  </a:lnTo>
                  <a:lnTo>
                    <a:pt x="7068" y="477"/>
                  </a:lnTo>
                  <a:lnTo>
                    <a:pt x="7061" y="482"/>
                  </a:lnTo>
                  <a:lnTo>
                    <a:pt x="7053" y="487"/>
                  </a:lnTo>
                  <a:lnTo>
                    <a:pt x="7045" y="493"/>
                  </a:lnTo>
                  <a:lnTo>
                    <a:pt x="7037" y="499"/>
                  </a:lnTo>
                  <a:lnTo>
                    <a:pt x="7031" y="507"/>
                  </a:lnTo>
                  <a:lnTo>
                    <a:pt x="7023" y="514"/>
                  </a:lnTo>
                  <a:lnTo>
                    <a:pt x="7017" y="523"/>
                  </a:lnTo>
                  <a:lnTo>
                    <a:pt x="7004" y="541"/>
                  </a:lnTo>
                  <a:lnTo>
                    <a:pt x="6992" y="561"/>
                  </a:lnTo>
                  <a:lnTo>
                    <a:pt x="6983" y="584"/>
                  </a:lnTo>
                  <a:lnTo>
                    <a:pt x="6973" y="607"/>
                  </a:lnTo>
                  <a:lnTo>
                    <a:pt x="6965" y="632"/>
                  </a:lnTo>
                  <a:lnTo>
                    <a:pt x="6958" y="658"/>
                  </a:lnTo>
                  <a:lnTo>
                    <a:pt x="6953" y="684"/>
                  </a:lnTo>
                  <a:lnTo>
                    <a:pt x="6950" y="711"/>
                  </a:lnTo>
                  <a:lnTo>
                    <a:pt x="6946" y="739"/>
                  </a:lnTo>
                  <a:lnTo>
                    <a:pt x="6946" y="767"/>
                  </a:lnTo>
                  <a:lnTo>
                    <a:pt x="6946" y="1076"/>
                  </a:lnTo>
                  <a:lnTo>
                    <a:pt x="6807" y="1076"/>
                  </a:lnTo>
                  <a:lnTo>
                    <a:pt x="6807" y="346"/>
                  </a:lnTo>
                  <a:close/>
                  <a:moveTo>
                    <a:pt x="6330" y="346"/>
                  </a:moveTo>
                  <a:lnTo>
                    <a:pt x="6467" y="346"/>
                  </a:lnTo>
                  <a:lnTo>
                    <a:pt x="6467" y="493"/>
                  </a:lnTo>
                  <a:lnTo>
                    <a:pt x="6471" y="493"/>
                  </a:lnTo>
                  <a:lnTo>
                    <a:pt x="6475" y="481"/>
                  </a:lnTo>
                  <a:lnTo>
                    <a:pt x="6480" y="470"/>
                  </a:lnTo>
                  <a:lnTo>
                    <a:pt x="6487" y="456"/>
                  </a:lnTo>
                  <a:lnTo>
                    <a:pt x="6494" y="443"/>
                  </a:lnTo>
                  <a:lnTo>
                    <a:pt x="6503" y="429"/>
                  </a:lnTo>
                  <a:lnTo>
                    <a:pt x="6512" y="415"/>
                  </a:lnTo>
                  <a:lnTo>
                    <a:pt x="6524" y="402"/>
                  </a:lnTo>
                  <a:lnTo>
                    <a:pt x="6537" y="388"/>
                  </a:lnTo>
                  <a:lnTo>
                    <a:pt x="6551" y="377"/>
                  </a:lnTo>
                  <a:lnTo>
                    <a:pt x="6567" y="365"/>
                  </a:lnTo>
                  <a:lnTo>
                    <a:pt x="6584" y="355"/>
                  </a:lnTo>
                  <a:lnTo>
                    <a:pt x="6603" y="346"/>
                  </a:lnTo>
                  <a:lnTo>
                    <a:pt x="6613" y="342"/>
                  </a:lnTo>
                  <a:lnTo>
                    <a:pt x="6624" y="339"/>
                  </a:lnTo>
                  <a:lnTo>
                    <a:pt x="6634" y="336"/>
                  </a:lnTo>
                  <a:lnTo>
                    <a:pt x="6646" y="333"/>
                  </a:lnTo>
                  <a:lnTo>
                    <a:pt x="6658" y="332"/>
                  </a:lnTo>
                  <a:lnTo>
                    <a:pt x="6671" y="330"/>
                  </a:lnTo>
                  <a:lnTo>
                    <a:pt x="6683" y="328"/>
                  </a:lnTo>
                  <a:lnTo>
                    <a:pt x="6696" y="328"/>
                  </a:lnTo>
                  <a:lnTo>
                    <a:pt x="6696" y="479"/>
                  </a:lnTo>
                  <a:lnTo>
                    <a:pt x="6674" y="480"/>
                  </a:lnTo>
                  <a:lnTo>
                    <a:pt x="6651" y="482"/>
                  </a:lnTo>
                  <a:lnTo>
                    <a:pt x="6629" y="487"/>
                  </a:lnTo>
                  <a:lnTo>
                    <a:pt x="6609" y="492"/>
                  </a:lnTo>
                  <a:lnTo>
                    <a:pt x="6598" y="496"/>
                  </a:lnTo>
                  <a:lnTo>
                    <a:pt x="6588" y="500"/>
                  </a:lnTo>
                  <a:lnTo>
                    <a:pt x="6579" y="506"/>
                  </a:lnTo>
                  <a:lnTo>
                    <a:pt x="6569" y="511"/>
                  </a:lnTo>
                  <a:lnTo>
                    <a:pt x="6560" y="517"/>
                  </a:lnTo>
                  <a:lnTo>
                    <a:pt x="6552" y="523"/>
                  </a:lnTo>
                  <a:lnTo>
                    <a:pt x="6543" y="530"/>
                  </a:lnTo>
                  <a:lnTo>
                    <a:pt x="6536" y="539"/>
                  </a:lnTo>
                  <a:lnTo>
                    <a:pt x="6527" y="547"/>
                  </a:lnTo>
                  <a:lnTo>
                    <a:pt x="6521" y="556"/>
                  </a:lnTo>
                  <a:lnTo>
                    <a:pt x="6513" y="566"/>
                  </a:lnTo>
                  <a:lnTo>
                    <a:pt x="6507" y="576"/>
                  </a:lnTo>
                  <a:lnTo>
                    <a:pt x="6502" y="588"/>
                  </a:lnTo>
                  <a:lnTo>
                    <a:pt x="6495" y="600"/>
                  </a:lnTo>
                  <a:lnTo>
                    <a:pt x="6491" y="613"/>
                  </a:lnTo>
                  <a:lnTo>
                    <a:pt x="6486" y="627"/>
                  </a:lnTo>
                  <a:lnTo>
                    <a:pt x="6481" y="642"/>
                  </a:lnTo>
                  <a:lnTo>
                    <a:pt x="6478" y="656"/>
                  </a:lnTo>
                  <a:lnTo>
                    <a:pt x="6475" y="673"/>
                  </a:lnTo>
                  <a:lnTo>
                    <a:pt x="6473" y="690"/>
                  </a:lnTo>
                  <a:lnTo>
                    <a:pt x="6471" y="707"/>
                  </a:lnTo>
                  <a:lnTo>
                    <a:pt x="6469" y="726"/>
                  </a:lnTo>
                  <a:lnTo>
                    <a:pt x="6467" y="745"/>
                  </a:lnTo>
                  <a:lnTo>
                    <a:pt x="6467" y="767"/>
                  </a:lnTo>
                  <a:lnTo>
                    <a:pt x="6467" y="1076"/>
                  </a:lnTo>
                  <a:lnTo>
                    <a:pt x="6330" y="1076"/>
                  </a:lnTo>
                  <a:lnTo>
                    <a:pt x="6330" y="346"/>
                  </a:lnTo>
                  <a:close/>
                  <a:moveTo>
                    <a:pt x="5866" y="986"/>
                  </a:moveTo>
                  <a:lnTo>
                    <a:pt x="5878" y="984"/>
                  </a:lnTo>
                  <a:lnTo>
                    <a:pt x="5891" y="983"/>
                  </a:lnTo>
                  <a:lnTo>
                    <a:pt x="5904" y="981"/>
                  </a:lnTo>
                  <a:lnTo>
                    <a:pt x="5915" y="978"/>
                  </a:lnTo>
                  <a:lnTo>
                    <a:pt x="5927" y="975"/>
                  </a:lnTo>
                  <a:lnTo>
                    <a:pt x="5936" y="971"/>
                  </a:lnTo>
                  <a:lnTo>
                    <a:pt x="5946" y="965"/>
                  </a:lnTo>
                  <a:lnTo>
                    <a:pt x="5954" y="959"/>
                  </a:lnTo>
                  <a:lnTo>
                    <a:pt x="5963" y="952"/>
                  </a:lnTo>
                  <a:lnTo>
                    <a:pt x="5970" y="945"/>
                  </a:lnTo>
                  <a:lnTo>
                    <a:pt x="5978" y="937"/>
                  </a:lnTo>
                  <a:lnTo>
                    <a:pt x="5984" y="929"/>
                  </a:lnTo>
                  <a:lnTo>
                    <a:pt x="5990" y="920"/>
                  </a:lnTo>
                  <a:lnTo>
                    <a:pt x="5996" y="912"/>
                  </a:lnTo>
                  <a:lnTo>
                    <a:pt x="6000" y="902"/>
                  </a:lnTo>
                  <a:lnTo>
                    <a:pt x="6006" y="892"/>
                  </a:lnTo>
                  <a:lnTo>
                    <a:pt x="6013" y="871"/>
                  </a:lnTo>
                  <a:lnTo>
                    <a:pt x="6020" y="849"/>
                  </a:lnTo>
                  <a:lnTo>
                    <a:pt x="6025" y="826"/>
                  </a:lnTo>
                  <a:lnTo>
                    <a:pt x="6028" y="803"/>
                  </a:lnTo>
                  <a:lnTo>
                    <a:pt x="6031" y="779"/>
                  </a:lnTo>
                  <a:lnTo>
                    <a:pt x="6032" y="756"/>
                  </a:lnTo>
                  <a:lnTo>
                    <a:pt x="6033" y="733"/>
                  </a:lnTo>
                  <a:lnTo>
                    <a:pt x="6035" y="711"/>
                  </a:lnTo>
                  <a:lnTo>
                    <a:pt x="6033" y="689"/>
                  </a:lnTo>
                  <a:lnTo>
                    <a:pt x="6032" y="665"/>
                  </a:lnTo>
                  <a:lnTo>
                    <a:pt x="6031" y="642"/>
                  </a:lnTo>
                  <a:lnTo>
                    <a:pt x="6028" y="618"/>
                  </a:lnTo>
                  <a:lnTo>
                    <a:pt x="6025" y="595"/>
                  </a:lnTo>
                  <a:lnTo>
                    <a:pt x="6020" y="572"/>
                  </a:lnTo>
                  <a:lnTo>
                    <a:pt x="6013" y="550"/>
                  </a:lnTo>
                  <a:lnTo>
                    <a:pt x="6006" y="529"/>
                  </a:lnTo>
                  <a:lnTo>
                    <a:pt x="6000" y="519"/>
                  </a:lnTo>
                  <a:lnTo>
                    <a:pt x="5996" y="509"/>
                  </a:lnTo>
                  <a:lnTo>
                    <a:pt x="5991" y="500"/>
                  </a:lnTo>
                  <a:lnTo>
                    <a:pt x="5984" y="492"/>
                  </a:lnTo>
                  <a:lnTo>
                    <a:pt x="5978" y="483"/>
                  </a:lnTo>
                  <a:lnTo>
                    <a:pt x="5970" y="476"/>
                  </a:lnTo>
                  <a:lnTo>
                    <a:pt x="5963" y="468"/>
                  </a:lnTo>
                  <a:lnTo>
                    <a:pt x="5954" y="462"/>
                  </a:lnTo>
                  <a:lnTo>
                    <a:pt x="5946" y="457"/>
                  </a:lnTo>
                  <a:lnTo>
                    <a:pt x="5936" y="451"/>
                  </a:lnTo>
                  <a:lnTo>
                    <a:pt x="5927" y="447"/>
                  </a:lnTo>
                  <a:lnTo>
                    <a:pt x="5915" y="443"/>
                  </a:lnTo>
                  <a:lnTo>
                    <a:pt x="5904" y="440"/>
                  </a:lnTo>
                  <a:lnTo>
                    <a:pt x="5891" y="437"/>
                  </a:lnTo>
                  <a:lnTo>
                    <a:pt x="5878" y="436"/>
                  </a:lnTo>
                  <a:lnTo>
                    <a:pt x="5866" y="436"/>
                  </a:lnTo>
                  <a:lnTo>
                    <a:pt x="5852" y="436"/>
                  </a:lnTo>
                  <a:lnTo>
                    <a:pt x="5838" y="437"/>
                  </a:lnTo>
                  <a:lnTo>
                    <a:pt x="5826" y="440"/>
                  </a:lnTo>
                  <a:lnTo>
                    <a:pt x="5814" y="443"/>
                  </a:lnTo>
                  <a:lnTo>
                    <a:pt x="5804" y="447"/>
                  </a:lnTo>
                  <a:lnTo>
                    <a:pt x="5793" y="451"/>
                  </a:lnTo>
                  <a:lnTo>
                    <a:pt x="5783" y="457"/>
                  </a:lnTo>
                  <a:lnTo>
                    <a:pt x="5775" y="462"/>
                  </a:lnTo>
                  <a:lnTo>
                    <a:pt x="5766" y="468"/>
                  </a:lnTo>
                  <a:lnTo>
                    <a:pt x="5759" y="476"/>
                  </a:lnTo>
                  <a:lnTo>
                    <a:pt x="5751" y="483"/>
                  </a:lnTo>
                  <a:lnTo>
                    <a:pt x="5745" y="492"/>
                  </a:lnTo>
                  <a:lnTo>
                    <a:pt x="5738" y="500"/>
                  </a:lnTo>
                  <a:lnTo>
                    <a:pt x="5733" y="509"/>
                  </a:lnTo>
                  <a:lnTo>
                    <a:pt x="5728" y="519"/>
                  </a:lnTo>
                  <a:lnTo>
                    <a:pt x="5723" y="529"/>
                  </a:lnTo>
                  <a:lnTo>
                    <a:pt x="5715" y="550"/>
                  </a:lnTo>
                  <a:lnTo>
                    <a:pt x="5708" y="572"/>
                  </a:lnTo>
                  <a:lnTo>
                    <a:pt x="5703" y="595"/>
                  </a:lnTo>
                  <a:lnTo>
                    <a:pt x="5700" y="618"/>
                  </a:lnTo>
                  <a:lnTo>
                    <a:pt x="5698" y="642"/>
                  </a:lnTo>
                  <a:lnTo>
                    <a:pt x="5696" y="665"/>
                  </a:lnTo>
                  <a:lnTo>
                    <a:pt x="5695" y="689"/>
                  </a:lnTo>
                  <a:lnTo>
                    <a:pt x="5695" y="711"/>
                  </a:lnTo>
                  <a:lnTo>
                    <a:pt x="5695" y="733"/>
                  </a:lnTo>
                  <a:lnTo>
                    <a:pt x="5696" y="756"/>
                  </a:lnTo>
                  <a:lnTo>
                    <a:pt x="5698" y="779"/>
                  </a:lnTo>
                  <a:lnTo>
                    <a:pt x="5700" y="803"/>
                  </a:lnTo>
                  <a:lnTo>
                    <a:pt x="5703" y="826"/>
                  </a:lnTo>
                  <a:lnTo>
                    <a:pt x="5708" y="849"/>
                  </a:lnTo>
                  <a:lnTo>
                    <a:pt x="5715" y="871"/>
                  </a:lnTo>
                  <a:lnTo>
                    <a:pt x="5723" y="892"/>
                  </a:lnTo>
                  <a:lnTo>
                    <a:pt x="5728" y="902"/>
                  </a:lnTo>
                  <a:lnTo>
                    <a:pt x="5733" y="912"/>
                  </a:lnTo>
                  <a:lnTo>
                    <a:pt x="5738" y="920"/>
                  </a:lnTo>
                  <a:lnTo>
                    <a:pt x="5745" y="929"/>
                  </a:lnTo>
                  <a:lnTo>
                    <a:pt x="5751" y="937"/>
                  </a:lnTo>
                  <a:lnTo>
                    <a:pt x="5759" y="945"/>
                  </a:lnTo>
                  <a:lnTo>
                    <a:pt x="5766" y="952"/>
                  </a:lnTo>
                  <a:lnTo>
                    <a:pt x="5775" y="959"/>
                  </a:lnTo>
                  <a:lnTo>
                    <a:pt x="5783" y="965"/>
                  </a:lnTo>
                  <a:lnTo>
                    <a:pt x="5793" y="971"/>
                  </a:lnTo>
                  <a:lnTo>
                    <a:pt x="5804" y="975"/>
                  </a:lnTo>
                  <a:lnTo>
                    <a:pt x="5814" y="978"/>
                  </a:lnTo>
                  <a:lnTo>
                    <a:pt x="5826" y="981"/>
                  </a:lnTo>
                  <a:lnTo>
                    <a:pt x="5838" y="983"/>
                  </a:lnTo>
                  <a:lnTo>
                    <a:pt x="5852" y="984"/>
                  </a:lnTo>
                  <a:lnTo>
                    <a:pt x="5866" y="986"/>
                  </a:lnTo>
                  <a:close/>
                  <a:moveTo>
                    <a:pt x="5541" y="711"/>
                  </a:moveTo>
                  <a:lnTo>
                    <a:pt x="5542" y="690"/>
                  </a:lnTo>
                  <a:lnTo>
                    <a:pt x="5543" y="668"/>
                  </a:lnTo>
                  <a:lnTo>
                    <a:pt x="5544" y="648"/>
                  </a:lnTo>
                  <a:lnTo>
                    <a:pt x="5546" y="628"/>
                  </a:lnTo>
                  <a:lnTo>
                    <a:pt x="5549" y="608"/>
                  </a:lnTo>
                  <a:lnTo>
                    <a:pt x="5552" y="589"/>
                  </a:lnTo>
                  <a:lnTo>
                    <a:pt x="5556" y="571"/>
                  </a:lnTo>
                  <a:lnTo>
                    <a:pt x="5561" y="553"/>
                  </a:lnTo>
                  <a:lnTo>
                    <a:pt x="5566" y="536"/>
                  </a:lnTo>
                  <a:lnTo>
                    <a:pt x="5572" y="519"/>
                  </a:lnTo>
                  <a:lnTo>
                    <a:pt x="5578" y="503"/>
                  </a:lnTo>
                  <a:lnTo>
                    <a:pt x="5586" y="488"/>
                  </a:lnTo>
                  <a:lnTo>
                    <a:pt x="5593" y="473"/>
                  </a:lnTo>
                  <a:lnTo>
                    <a:pt x="5602" y="459"/>
                  </a:lnTo>
                  <a:lnTo>
                    <a:pt x="5610" y="445"/>
                  </a:lnTo>
                  <a:lnTo>
                    <a:pt x="5620" y="432"/>
                  </a:lnTo>
                  <a:lnTo>
                    <a:pt x="5630" y="420"/>
                  </a:lnTo>
                  <a:lnTo>
                    <a:pt x="5641" y="409"/>
                  </a:lnTo>
                  <a:lnTo>
                    <a:pt x="5653" y="398"/>
                  </a:lnTo>
                  <a:lnTo>
                    <a:pt x="5666" y="388"/>
                  </a:lnTo>
                  <a:lnTo>
                    <a:pt x="5679" y="379"/>
                  </a:lnTo>
                  <a:lnTo>
                    <a:pt x="5692" y="370"/>
                  </a:lnTo>
                  <a:lnTo>
                    <a:pt x="5706" y="363"/>
                  </a:lnTo>
                  <a:lnTo>
                    <a:pt x="5721" y="355"/>
                  </a:lnTo>
                  <a:lnTo>
                    <a:pt x="5737" y="349"/>
                  </a:lnTo>
                  <a:lnTo>
                    <a:pt x="5753" y="343"/>
                  </a:lnTo>
                  <a:lnTo>
                    <a:pt x="5770" y="339"/>
                  </a:lnTo>
                  <a:lnTo>
                    <a:pt x="5788" y="335"/>
                  </a:lnTo>
                  <a:lnTo>
                    <a:pt x="5806" y="333"/>
                  </a:lnTo>
                  <a:lnTo>
                    <a:pt x="5825" y="331"/>
                  </a:lnTo>
                  <a:lnTo>
                    <a:pt x="5845" y="328"/>
                  </a:lnTo>
                  <a:lnTo>
                    <a:pt x="5866" y="328"/>
                  </a:lnTo>
                  <a:lnTo>
                    <a:pt x="5886" y="328"/>
                  </a:lnTo>
                  <a:lnTo>
                    <a:pt x="5905" y="331"/>
                  </a:lnTo>
                  <a:lnTo>
                    <a:pt x="5924" y="333"/>
                  </a:lnTo>
                  <a:lnTo>
                    <a:pt x="5943" y="335"/>
                  </a:lnTo>
                  <a:lnTo>
                    <a:pt x="5960" y="339"/>
                  </a:lnTo>
                  <a:lnTo>
                    <a:pt x="5977" y="343"/>
                  </a:lnTo>
                  <a:lnTo>
                    <a:pt x="5993" y="349"/>
                  </a:lnTo>
                  <a:lnTo>
                    <a:pt x="6008" y="355"/>
                  </a:lnTo>
                  <a:lnTo>
                    <a:pt x="6023" y="363"/>
                  </a:lnTo>
                  <a:lnTo>
                    <a:pt x="6038" y="370"/>
                  </a:lnTo>
                  <a:lnTo>
                    <a:pt x="6051" y="379"/>
                  </a:lnTo>
                  <a:lnTo>
                    <a:pt x="6063" y="388"/>
                  </a:lnTo>
                  <a:lnTo>
                    <a:pt x="6076" y="398"/>
                  </a:lnTo>
                  <a:lnTo>
                    <a:pt x="6088" y="409"/>
                  </a:lnTo>
                  <a:lnTo>
                    <a:pt x="6099" y="420"/>
                  </a:lnTo>
                  <a:lnTo>
                    <a:pt x="6108" y="432"/>
                  </a:lnTo>
                  <a:lnTo>
                    <a:pt x="6118" y="445"/>
                  </a:lnTo>
                  <a:lnTo>
                    <a:pt x="6128" y="459"/>
                  </a:lnTo>
                  <a:lnTo>
                    <a:pt x="6136" y="473"/>
                  </a:lnTo>
                  <a:lnTo>
                    <a:pt x="6144" y="488"/>
                  </a:lnTo>
                  <a:lnTo>
                    <a:pt x="6151" y="503"/>
                  </a:lnTo>
                  <a:lnTo>
                    <a:pt x="6157" y="519"/>
                  </a:lnTo>
                  <a:lnTo>
                    <a:pt x="6163" y="536"/>
                  </a:lnTo>
                  <a:lnTo>
                    <a:pt x="6168" y="553"/>
                  </a:lnTo>
                  <a:lnTo>
                    <a:pt x="6172" y="571"/>
                  </a:lnTo>
                  <a:lnTo>
                    <a:pt x="6177" y="589"/>
                  </a:lnTo>
                  <a:lnTo>
                    <a:pt x="6180" y="608"/>
                  </a:lnTo>
                  <a:lnTo>
                    <a:pt x="6183" y="628"/>
                  </a:lnTo>
                  <a:lnTo>
                    <a:pt x="6185" y="648"/>
                  </a:lnTo>
                  <a:lnTo>
                    <a:pt x="6186" y="668"/>
                  </a:lnTo>
                  <a:lnTo>
                    <a:pt x="6187" y="690"/>
                  </a:lnTo>
                  <a:lnTo>
                    <a:pt x="6187" y="711"/>
                  </a:lnTo>
                  <a:lnTo>
                    <a:pt x="6187" y="732"/>
                  </a:lnTo>
                  <a:lnTo>
                    <a:pt x="6186" y="753"/>
                  </a:lnTo>
                  <a:lnTo>
                    <a:pt x="6185" y="773"/>
                  </a:lnTo>
                  <a:lnTo>
                    <a:pt x="6183" y="793"/>
                  </a:lnTo>
                  <a:lnTo>
                    <a:pt x="6180" y="812"/>
                  </a:lnTo>
                  <a:lnTo>
                    <a:pt x="6177" y="832"/>
                  </a:lnTo>
                  <a:lnTo>
                    <a:pt x="6172" y="850"/>
                  </a:lnTo>
                  <a:lnTo>
                    <a:pt x="6168" y="868"/>
                  </a:lnTo>
                  <a:lnTo>
                    <a:pt x="6163" y="885"/>
                  </a:lnTo>
                  <a:lnTo>
                    <a:pt x="6157" y="901"/>
                  </a:lnTo>
                  <a:lnTo>
                    <a:pt x="6151" y="917"/>
                  </a:lnTo>
                  <a:lnTo>
                    <a:pt x="6144" y="933"/>
                  </a:lnTo>
                  <a:lnTo>
                    <a:pt x="6136" y="948"/>
                  </a:lnTo>
                  <a:lnTo>
                    <a:pt x="6128" y="962"/>
                  </a:lnTo>
                  <a:lnTo>
                    <a:pt x="6118" y="975"/>
                  </a:lnTo>
                  <a:lnTo>
                    <a:pt x="6108" y="988"/>
                  </a:lnTo>
                  <a:lnTo>
                    <a:pt x="6099" y="1000"/>
                  </a:lnTo>
                  <a:lnTo>
                    <a:pt x="6088" y="1012"/>
                  </a:lnTo>
                  <a:lnTo>
                    <a:pt x="6076" y="1023"/>
                  </a:lnTo>
                  <a:lnTo>
                    <a:pt x="6063" y="1033"/>
                  </a:lnTo>
                  <a:lnTo>
                    <a:pt x="6051" y="1042"/>
                  </a:lnTo>
                  <a:lnTo>
                    <a:pt x="6038" y="1051"/>
                  </a:lnTo>
                  <a:lnTo>
                    <a:pt x="6023" y="1058"/>
                  </a:lnTo>
                  <a:lnTo>
                    <a:pt x="6008" y="1066"/>
                  </a:lnTo>
                  <a:lnTo>
                    <a:pt x="5993" y="1072"/>
                  </a:lnTo>
                  <a:lnTo>
                    <a:pt x="5977" y="1077"/>
                  </a:lnTo>
                  <a:lnTo>
                    <a:pt x="5960" y="1082"/>
                  </a:lnTo>
                  <a:lnTo>
                    <a:pt x="5943" y="1086"/>
                  </a:lnTo>
                  <a:lnTo>
                    <a:pt x="5924" y="1089"/>
                  </a:lnTo>
                  <a:lnTo>
                    <a:pt x="5905" y="1091"/>
                  </a:lnTo>
                  <a:lnTo>
                    <a:pt x="5886" y="1092"/>
                  </a:lnTo>
                  <a:lnTo>
                    <a:pt x="5866" y="1092"/>
                  </a:lnTo>
                  <a:lnTo>
                    <a:pt x="5845" y="1092"/>
                  </a:lnTo>
                  <a:lnTo>
                    <a:pt x="5825" y="1091"/>
                  </a:lnTo>
                  <a:lnTo>
                    <a:pt x="5806" y="1089"/>
                  </a:lnTo>
                  <a:lnTo>
                    <a:pt x="5788" y="1086"/>
                  </a:lnTo>
                  <a:lnTo>
                    <a:pt x="5770" y="1082"/>
                  </a:lnTo>
                  <a:lnTo>
                    <a:pt x="5753" y="1077"/>
                  </a:lnTo>
                  <a:lnTo>
                    <a:pt x="5737" y="1072"/>
                  </a:lnTo>
                  <a:lnTo>
                    <a:pt x="5721" y="1066"/>
                  </a:lnTo>
                  <a:lnTo>
                    <a:pt x="5706" y="1058"/>
                  </a:lnTo>
                  <a:lnTo>
                    <a:pt x="5692" y="1051"/>
                  </a:lnTo>
                  <a:lnTo>
                    <a:pt x="5679" y="1042"/>
                  </a:lnTo>
                  <a:lnTo>
                    <a:pt x="5666" y="1033"/>
                  </a:lnTo>
                  <a:lnTo>
                    <a:pt x="5653" y="1023"/>
                  </a:lnTo>
                  <a:lnTo>
                    <a:pt x="5641" y="1012"/>
                  </a:lnTo>
                  <a:lnTo>
                    <a:pt x="5630" y="1000"/>
                  </a:lnTo>
                  <a:lnTo>
                    <a:pt x="5620" y="988"/>
                  </a:lnTo>
                  <a:lnTo>
                    <a:pt x="5610" y="975"/>
                  </a:lnTo>
                  <a:lnTo>
                    <a:pt x="5602" y="962"/>
                  </a:lnTo>
                  <a:lnTo>
                    <a:pt x="5593" y="948"/>
                  </a:lnTo>
                  <a:lnTo>
                    <a:pt x="5586" y="933"/>
                  </a:lnTo>
                  <a:lnTo>
                    <a:pt x="5578" y="917"/>
                  </a:lnTo>
                  <a:lnTo>
                    <a:pt x="5572" y="901"/>
                  </a:lnTo>
                  <a:lnTo>
                    <a:pt x="5566" y="885"/>
                  </a:lnTo>
                  <a:lnTo>
                    <a:pt x="5561" y="868"/>
                  </a:lnTo>
                  <a:lnTo>
                    <a:pt x="5556" y="850"/>
                  </a:lnTo>
                  <a:lnTo>
                    <a:pt x="5552" y="832"/>
                  </a:lnTo>
                  <a:lnTo>
                    <a:pt x="5549" y="812"/>
                  </a:lnTo>
                  <a:lnTo>
                    <a:pt x="5546" y="793"/>
                  </a:lnTo>
                  <a:lnTo>
                    <a:pt x="5544" y="773"/>
                  </a:lnTo>
                  <a:lnTo>
                    <a:pt x="5543" y="753"/>
                  </a:lnTo>
                  <a:lnTo>
                    <a:pt x="5542" y="732"/>
                  </a:lnTo>
                  <a:lnTo>
                    <a:pt x="5541" y="711"/>
                  </a:lnTo>
                  <a:close/>
                  <a:moveTo>
                    <a:pt x="5132" y="452"/>
                  </a:moveTo>
                  <a:lnTo>
                    <a:pt x="5000" y="452"/>
                  </a:lnTo>
                  <a:lnTo>
                    <a:pt x="5000" y="346"/>
                  </a:lnTo>
                  <a:lnTo>
                    <a:pt x="5132" y="346"/>
                  </a:lnTo>
                  <a:lnTo>
                    <a:pt x="5132" y="261"/>
                  </a:lnTo>
                  <a:lnTo>
                    <a:pt x="5132" y="245"/>
                  </a:lnTo>
                  <a:lnTo>
                    <a:pt x="5133" y="230"/>
                  </a:lnTo>
                  <a:lnTo>
                    <a:pt x="5134" y="215"/>
                  </a:lnTo>
                  <a:lnTo>
                    <a:pt x="5137" y="200"/>
                  </a:lnTo>
                  <a:lnTo>
                    <a:pt x="5139" y="186"/>
                  </a:lnTo>
                  <a:lnTo>
                    <a:pt x="5142" y="174"/>
                  </a:lnTo>
                  <a:lnTo>
                    <a:pt x="5145" y="161"/>
                  </a:lnTo>
                  <a:lnTo>
                    <a:pt x="5149" y="148"/>
                  </a:lnTo>
                  <a:lnTo>
                    <a:pt x="5154" y="136"/>
                  </a:lnTo>
                  <a:lnTo>
                    <a:pt x="5159" y="124"/>
                  </a:lnTo>
                  <a:lnTo>
                    <a:pt x="5165" y="114"/>
                  </a:lnTo>
                  <a:lnTo>
                    <a:pt x="5171" y="103"/>
                  </a:lnTo>
                  <a:lnTo>
                    <a:pt x="5178" y="93"/>
                  </a:lnTo>
                  <a:lnTo>
                    <a:pt x="5186" y="84"/>
                  </a:lnTo>
                  <a:lnTo>
                    <a:pt x="5193" y="74"/>
                  </a:lnTo>
                  <a:lnTo>
                    <a:pt x="5202" y="66"/>
                  </a:lnTo>
                  <a:lnTo>
                    <a:pt x="5210" y="58"/>
                  </a:lnTo>
                  <a:lnTo>
                    <a:pt x="5220" y="51"/>
                  </a:lnTo>
                  <a:lnTo>
                    <a:pt x="5231" y="44"/>
                  </a:lnTo>
                  <a:lnTo>
                    <a:pt x="5241" y="38"/>
                  </a:lnTo>
                  <a:lnTo>
                    <a:pt x="5252" y="31"/>
                  </a:lnTo>
                  <a:lnTo>
                    <a:pt x="5264" y="26"/>
                  </a:lnTo>
                  <a:lnTo>
                    <a:pt x="5277" y="21"/>
                  </a:lnTo>
                  <a:lnTo>
                    <a:pt x="5289" y="17"/>
                  </a:lnTo>
                  <a:lnTo>
                    <a:pt x="5302" y="13"/>
                  </a:lnTo>
                  <a:lnTo>
                    <a:pt x="5316" y="9"/>
                  </a:lnTo>
                  <a:lnTo>
                    <a:pt x="5331" y="7"/>
                  </a:lnTo>
                  <a:lnTo>
                    <a:pt x="5346" y="5"/>
                  </a:lnTo>
                  <a:lnTo>
                    <a:pt x="5362" y="3"/>
                  </a:lnTo>
                  <a:lnTo>
                    <a:pt x="5378" y="2"/>
                  </a:lnTo>
                  <a:lnTo>
                    <a:pt x="5394" y="0"/>
                  </a:lnTo>
                  <a:lnTo>
                    <a:pt x="5412" y="0"/>
                  </a:lnTo>
                  <a:lnTo>
                    <a:pt x="5448" y="0"/>
                  </a:lnTo>
                  <a:lnTo>
                    <a:pt x="5485" y="3"/>
                  </a:lnTo>
                  <a:lnTo>
                    <a:pt x="5504" y="5"/>
                  </a:lnTo>
                  <a:lnTo>
                    <a:pt x="5524" y="7"/>
                  </a:lnTo>
                  <a:lnTo>
                    <a:pt x="5542" y="10"/>
                  </a:lnTo>
                  <a:lnTo>
                    <a:pt x="5559" y="14"/>
                  </a:lnTo>
                  <a:lnTo>
                    <a:pt x="5559" y="129"/>
                  </a:lnTo>
                  <a:lnTo>
                    <a:pt x="5527" y="120"/>
                  </a:lnTo>
                  <a:lnTo>
                    <a:pt x="5493" y="114"/>
                  </a:lnTo>
                  <a:lnTo>
                    <a:pt x="5474" y="112"/>
                  </a:lnTo>
                  <a:lnTo>
                    <a:pt x="5455" y="109"/>
                  </a:lnTo>
                  <a:lnTo>
                    <a:pt x="5435" y="108"/>
                  </a:lnTo>
                  <a:lnTo>
                    <a:pt x="5413" y="107"/>
                  </a:lnTo>
                  <a:lnTo>
                    <a:pt x="5393" y="108"/>
                  </a:lnTo>
                  <a:lnTo>
                    <a:pt x="5375" y="112"/>
                  </a:lnTo>
                  <a:lnTo>
                    <a:pt x="5359" y="116"/>
                  </a:lnTo>
                  <a:lnTo>
                    <a:pt x="5344" y="122"/>
                  </a:lnTo>
                  <a:lnTo>
                    <a:pt x="5331" y="131"/>
                  </a:lnTo>
                  <a:lnTo>
                    <a:pt x="5319" y="139"/>
                  </a:lnTo>
                  <a:lnTo>
                    <a:pt x="5310" y="150"/>
                  </a:lnTo>
                  <a:lnTo>
                    <a:pt x="5300" y="161"/>
                  </a:lnTo>
                  <a:lnTo>
                    <a:pt x="5293" y="174"/>
                  </a:lnTo>
                  <a:lnTo>
                    <a:pt x="5286" y="186"/>
                  </a:lnTo>
                  <a:lnTo>
                    <a:pt x="5281" y="200"/>
                  </a:lnTo>
                  <a:lnTo>
                    <a:pt x="5278" y="214"/>
                  </a:lnTo>
                  <a:lnTo>
                    <a:pt x="5274" y="228"/>
                  </a:lnTo>
                  <a:lnTo>
                    <a:pt x="5272" y="242"/>
                  </a:lnTo>
                  <a:lnTo>
                    <a:pt x="5271" y="256"/>
                  </a:lnTo>
                  <a:lnTo>
                    <a:pt x="5270" y="271"/>
                  </a:lnTo>
                  <a:lnTo>
                    <a:pt x="5270" y="346"/>
                  </a:lnTo>
                  <a:lnTo>
                    <a:pt x="5488" y="346"/>
                  </a:lnTo>
                  <a:lnTo>
                    <a:pt x="5488" y="452"/>
                  </a:lnTo>
                  <a:lnTo>
                    <a:pt x="5270" y="452"/>
                  </a:lnTo>
                  <a:lnTo>
                    <a:pt x="5270" y="1076"/>
                  </a:lnTo>
                  <a:lnTo>
                    <a:pt x="5132" y="1076"/>
                  </a:lnTo>
                  <a:lnTo>
                    <a:pt x="5132" y="452"/>
                  </a:lnTo>
                  <a:close/>
                  <a:moveTo>
                    <a:pt x="4545" y="346"/>
                  </a:moveTo>
                  <a:lnTo>
                    <a:pt x="4683" y="346"/>
                  </a:lnTo>
                  <a:lnTo>
                    <a:pt x="4683" y="493"/>
                  </a:lnTo>
                  <a:lnTo>
                    <a:pt x="4686" y="493"/>
                  </a:lnTo>
                  <a:lnTo>
                    <a:pt x="4691" y="481"/>
                  </a:lnTo>
                  <a:lnTo>
                    <a:pt x="4696" y="470"/>
                  </a:lnTo>
                  <a:lnTo>
                    <a:pt x="4703" y="456"/>
                  </a:lnTo>
                  <a:lnTo>
                    <a:pt x="4710" y="443"/>
                  </a:lnTo>
                  <a:lnTo>
                    <a:pt x="4719" y="429"/>
                  </a:lnTo>
                  <a:lnTo>
                    <a:pt x="4728" y="415"/>
                  </a:lnTo>
                  <a:lnTo>
                    <a:pt x="4740" y="402"/>
                  </a:lnTo>
                  <a:lnTo>
                    <a:pt x="4753" y="388"/>
                  </a:lnTo>
                  <a:lnTo>
                    <a:pt x="4767" y="377"/>
                  </a:lnTo>
                  <a:lnTo>
                    <a:pt x="4783" y="365"/>
                  </a:lnTo>
                  <a:lnTo>
                    <a:pt x="4800" y="355"/>
                  </a:lnTo>
                  <a:lnTo>
                    <a:pt x="4819" y="346"/>
                  </a:lnTo>
                  <a:lnTo>
                    <a:pt x="4829" y="342"/>
                  </a:lnTo>
                  <a:lnTo>
                    <a:pt x="4839" y="339"/>
                  </a:lnTo>
                  <a:lnTo>
                    <a:pt x="4850" y="336"/>
                  </a:lnTo>
                  <a:lnTo>
                    <a:pt x="4862" y="333"/>
                  </a:lnTo>
                  <a:lnTo>
                    <a:pt x="4874" y="332"/>
                  </a:lnTo>
                  <a:lnTo>
                    <a:pt x="4885" y="330"/>
                  </a:lnTo>
                  <a:lnTo>
                    <a:pt x="4898" y="328"/>
                  </a:lnTo>
                  <a:lnTo>
                    <a:pt x="4912" y="328"/>
                  </a:lnTo>
                  <a:lnTo>
                    <a:pt x="4912" y="479"/>
                  </a:lnTo>
                  <a:lnTo>
                    <a:pt x="4889" y="480"/>
                  </a:lnTo>
                  <a:lnTo>
                    <a:pt x="4866" y="482"/>
                  </a:lnTo>
                  <a:lnTo>
                    <a:pt x="4845" y="487"/>
                  </a:lnTo>
                  <a:lnTo>
                    <a:pt x="4823" y="492"/>
                  </a:lnTo>
                  <a:lnTo>
                    <a:pt x="4814" y="496"/>
                  </a:lnTo>
                  <a:lnTo>
                    <a:pt x="4804" y="500"/>
                  </a:lnTo>
                  <a:lnTo>
                    <a:pt x="4794" y="506"/>
                  </a:lnTo>
                  <a:lnTo>
                    <a:pt x="4785" y="511"/>
                  </a:lnTo>
                  <a:lnTo>
                    <a:pt x="4776" y="517"/>
                  </a:lnTo>
                  <a:lnTo>
                    <a:pt x="4768" y="523"/>
                  </a:lnTo>
                  <a:lnTo>
                    <a:pt x="4759" y="530"/>
                  </a:lnTo>
                  <a:lnTo>
                    <a:pt x="4751" y="539"/>
                  </a:lnTo>
                  <a:lnTo>
                    <a:pt x="4743" y="547"/>
                  </a:lnTo>
                  <a:lnTo>
                    <a:pt x="4736" y="556"/>
                  </a:lnTo>
                  <a:lnTo>
                    <a:pt x="4729" y="566"/>
                  </a:lnTo>
                  <a:lnTo>
                    <a:pt x="4723" y="576"/>
                  </a:lnTo>
                  <a:lnTo>
                    <a:pt x="4716" y="588"/>
                  </a:lnTo>
                  <a:lnTo>
                    <a:pt x="4711" y="600"/>
                  </a:lnTo>
                  <a:lnTo>
                    <a:pt x="4706" y="613"/>
                  </a:lnTo>
                  <a:lnTo>
                    <a:pt x="4701" y="627"/>
                  </a:lnTo>
                  <a:lnTo>
                    <a:pt x="4697" y="642"/>
                  </a:lnTo>
                  <a:lnTo>
                    <a:pt x="4694" y="656"/>
                  </a:lnTo>
                  <a:lnTo>
                    <a:pt x="4691" y="673"/>
                  </a:lnTo>
                  <a:lnTo>
                    <a:pt x="4688" y="690"/>
                  </a:lnTo>
                  <a:lnTo>
                    <a:pt x="4686" y="707"/>
                  </a:lnTo>
                  <a:lnTo>
                    <a:pt x="4684" y="726"/>
                  </a:lnTo>
                  <a:lnTo>
                    <a:pt x="4683" y="745"/>
                  </a:lnTo>
                  <a:lnTo>
                    <a:pt x="4683" y="767"/>
                  </a:lnTo>
                  <a:lnTo>
                    <a:pt x="4683" y="1076"/>
                  </a:lnTo>
                  <a:lnTo>
                    <a:pt x="4545" y="1076"/>
                  </a:lnTo>
                  <a:lnTo>
                    <a:pt x="4545" y="346"/>
                  </a:lnTo>
                  <a:close/>
                  <a:moveTo>
                    <a:pt x="4274" y="565"/>
                  </a:moveTo>
                  <a:lnTo>
                    <a:pt x="4274" y="556"/>
                  </a:lnTo>
                  <a:lnTo>
                    <a:pt x="4273" y="546"/>
                  </a:lnTo>
                  <a:lnTo>
                    <a:pt x="4271" y="536"/>
                  </a:lnTo>
                  <a:lnTo>
                    <a:pt x="4267" y="525"/>
                  </a:lnTo>
                  <a:lnTo>
                    <a:pt x="4264" y="514"/>
                  </a:lnTo>
                  <a:lnTo>
                    <a:pt x="4259" y="504"/>
                  </a:lnTo>
                  <a:lnTo>
                    <a:pt x="4254" y="493"/>
                  </a:lnTo>
                  <a:lnTo>
                    <a:pt x="4246" y="483"/>
                  </a:lnTo>
                  <a:lnTo>
                    <a:pt x="4239" y="474"/>
                  </a:lnTo>
                  <a:lnTo>
                    <a:pt x="4229" y="464"/>
                  </a:lnTo>
                  <a:lnTo>
                    <a:pt x="4218" y="457"/>
                  </a:lnTo>
                  <a:lnTo>
                    <a:pt x="4205" y="449"/>
                  </a:lnTo>
                  <a:lnTo>
                    <a:pt x="4192" y="444"/>
                  </a:lnTo>
                  <a:lnTo>
                    <a:pt x="4177" y="440"/>
                  </a:lnTo>
                  <a:lnTo>
                    <a:pt x="4159" y="436"/>
                  </a:lnTo>
                  <a:lnTo>
                    <a:pt x="4140" y="436"/>
                  </a:lnTo>
                  <a:lnTo>
                    <a:pt x="4130" y="436"/>
                  </a:lnTo>
                  <a:lnTo>
                    <a:pt x="4120" y="437"/>
                  </a:lnTo>
                  <a:lnTo>
                    <a:pt x="4110" y="439"/>
                  </a:lnTo>
                  <a:lnTo>
                    <a:pt x="4102" y="441"/>
                  </a:lnTo>
                  <a:lnTo>
                    <a:pt x="4085" y="445"/>
                  </a:lnTo>
                  <a:lnTo>
                    <a:pt x="4070" y="451"/>
                  </a:lnTo>
                  <a:lnTo>
                    <a:pt x="4056" y="459"/>
                  </a:lnTo>
                  <a:lnTo>
                    <a:pt x="4044" y="468"/>
                  </a:lnTo>
                  <a:lnTo>
                    <a:pt x="4033" y="478"/>
                  </a:lnTo>
                  <a:lnTo>
                    <a:pt x="4025" y="489"/>
                  </a:lnTo>
                  <a:lnTo>
                    <a:pt x="4017" y="499"/>
                  </a:lnTo>
                  <a:lnTo>
                    <a:pt x="4011" y="510"/>
                  </a:lnTo>
                  <a:lnTo>
                    <a:pt x="4006" y="521"/>
                  </a:lnTo>
                  <a:lnTo>
                    <a:pt x="4001" y="531"/>
                  </a:lnTo>
                  <a:lnTo>
                    <a:pt x="3998" y="541"/>
                  </a:lnTo>
                  <a:lnTo>
                    <a:pt x="3996" y="550"/>
                  </a:lnTo>
                  <a:lnTo>
                    <a:pt x="3995" y="558"/>
                  </a:lnTo>
                  <a:lnTo>
                    <a:pt x="3994" y="565"/>
                  </a:lnTo>
                  <a:lnTo>
                    <a:pt x="4274" y="565"/>
                  </a:lnTo>
                  <a:close/>
                  <a:moveTo>
                    <a:pt x="4395" y="1069"/>
                  </a:moveTo>
                  <a:lnTo>
                    <a:pt x="4373" y="1073"/>
                  </a:lnTo>
                  <a:lnTo>
                    <a:pt x="4353" y="1078"/>
                  </a:lnTo>
                  <a:lnTo>
                    <a:pt x="4332" y="1083"/>
                  </a:lnTo>
                  <a:lnTo>
                    <a:pt x="4311" y="1086"/>
                  </a:lnTo>
                  <a:lnTo>
                    <a:pt x="4290" y="1089"/>
                  </a:lnTo>
                  <a:lnTo>
                    <a:pt x="4266" y="1091"/>
                  </a:lnTo>
                  <a:lnTo>
                    <a:pt x="4241" y="1092"/>
                  </a:lnTo>
                  <a:lnTo>
                    <a:pt x="4212" y="1092"/>
                  </a:lnTo>
                  <a:lnTo>
                    <a:pt x="4192" y="1092"/>
                  </a:lnTo>
                  <a:lnTo>
                    <a:pt x="4171" y="1091"/>
                  </a:lnTo>
                  <a:lnTo>
                    <a:pt x="4152" y="1089"/>
                  </a:lnTo>
                  <a:lnTo>
                    <a:pt x="4133" y="1087"/>
                  </a:lnTo>
                  <a:lnTo>
                    <a:pt x="4115" y="1083"/>
                  </a:lnTo>
                  <a:lnTo>
                    <a:pt x="4096" y="1078"/>
                  </a:lnTo>
                  <a:lnTo>
                    <a:pt x="4079" y="1074"/>
                  </a:lnTo>
                  <a:lnTo>
                    <a:pt x="4062" y="1068"/>
                  </a:lnTo>
                  <a:lnTo>
                    <a:pt x="4046" y="1061"/>
                  </a:lnTo>
                  <a:lnTo>
                    <a:pt x="4030" y="1054"/>
                  </a:lnTo>
                  <a:lnTo>
                    <a:pt x="4015" y="1045"/>
                  </a:lnTo>
                  <a:lnTo>
                    <a:pt x="4000" y="1037"/>
                  </a:lnTo>
                  <a:lnTo>
                    <a:pt x="3986" y="1026"/>
                  </a:lnTo>
                  <a:lnTo>
                    <a:pt x="3973" y="1015"/>
                  </a:lnTo>
                  <a:lnTo>
                    <a:pt x="3961" y="1004"/>
                  </a:lnTo>
                  <a:lnTo>
                    <a:pt x="3948" y="992"/>
                  </a:lnTo>
                  <a:lnTo>
                    <a:pt x="3937" y="978"/>
                  </a:lnTo>
                  <a:lnTo>
                    <a:pt x="3925" y="964"/>
                  </a:lnTo>
                  <a:lnTo>
                    <a:pt x="3916" y="949"/>
                  </a:lnTo>
                  <a:lnTo>
                    <a:pt x="3906" y="933"/>
                  </a:lnTo>
                  <a:lnTo>
                    <a:pt x="3898" y="917"/>
                  </a:lnTo>
                  <a:lnTo>
                    <a:pt x="3889" y="899"/>
                  </a:lnTo>
                  <a:lnTo>
                    <a:pt x="3883" y="881"/>
                  </a:lnTo>
                  <a:lnTo>
                    <a:pt x="3875" y="862"/>
                  </a:lnTo>
                  <a:lnTo>
                    <a:pt x="3870" y="841"/>
                  </a:lnTo>
                  <a:lnTo>
                    <a:pt x="3864" y="821"/>
                  </a:lnTo>
                  <a:lnTo>
                    <a:pt x="3860" y="799"/>
                  </a:lnTo>
                  <a:lnTo>
                    <a:pt x="3857" y="776"/>
                  </a:lnTo>
                  <a:lnTo>
                    <a:pt x="3854" y="752"/>
                  </a:lnTo>
                  <a:lnTo>
                    <a:pt x="3852" y="727"/>
                  </a:lnTo>
                  <a:lnTo>
                    <a:pt x="3851" y="701"/>
                  </a:lnTo>
                  <a:lnTo>
                    <a:pt x="3851" y="676"/>
                  </a:lnTo>
                  <a:lnTo>
                    <a:pt x="3851" y="647"/>
                  </a:lnTo>
                  <a:lnTo>
                    <a:pt x="3853" y="620"/>
                  </a:lnTo>
                  <a:lnTo>
                    <a:pt x="3855" y="595"/>
                  </a:lnTo>
                  <a:lnTo>
                    <a:pt x="3859" y="571"/>
                  </a:lnTo>
                  <a:lnTo>
                    <a:pt x="3863" y="549"/>
                  </a:lnTo>
                  <a:lnTo>
                    <a:pt x="3870" y="527"/>
                  </a:lnTo>
                  <a:lnTo>
                    <a:pt x="3876" y="508"/>
                  </a:lnTo>
                  <a:lnTo>
                    <a:pt x="3884" y="489"/>
                  </a:lnTo>
                  <a:lnTo>
                    <a:pt x="3891" y="472"/>
                  </a:lnTo>
                  <a:lnTo>
                    <a:pt x="3900" y="457"/>
                  </a:lnTo>
                  <a:lnTo>
                    <a:pt x="3909" y="442"/>
                  </a:lnTo>
                  <a:lnTo>
                    <a:pt x="3920" y="428"/>
                  </a:lnTo>
                  <a:lnTo>
                    <a:pt x="3930" y="416"/>
                  </a:lnTo>
                  <a:lnTo>
                    <a:pt x="3941" y="404"/>
                  </a:lnTo>
                  <a:lnTo>
                    <a:pt x="3952" y="394"/>
                  </a:lnTo>
                  <a:lnTo>
                    <a:pt x="3964" y="384"/>
                  </a:lnTo>
                  <a:lnTo>
                    <a:pt x="3976" y="377"/>
                  </a:lnTo>
                  <a:lnTo>
                    <a:pt x="3987" y="368"/>
                  </a:lnTo>
                  <a:lnTo>
                    <a:pt x="4000" y="362"/>
                  </a:lnTo>
                  <a:lnTo>
                    <a:pt x="4012" y="356"/>
                  </a:lnTo>
                  <a:lnTo>
                    <a:pt x="4025" y="351"/>
                  </a:lnTo>
                  <a:lnTo>
                    <a:pt x="4038" y="346"/>
                  </a:lnTo>
                  <a:lnTo>
                    <a:pt x="4049" y="342"/>
                  </a:lnTo>
                  <a:lnTo>
                    <a:pt x="4062" y="339"/>
                  </a:lnTo>
                  <a:lnTo>
                    <a:pt x="4086" y="334"/>
                  </a:lnTo>
                  <a:lnTo>
                    <a:pt x="4108" y="331"/>
                  </a:lnTo>
                  <a:lnTo>
                    <a:pt x="4128" y="328"/>
                  </a:lnTo>
                  <a:lnTo>
                    <a:pt x="4148" y="328"/>
                  </a:lnTo>
                  <a:lnTo>
                    <a:pt x="4164" y="328"/>
                  </a:lnTo>
                  <a:lnTo>
                    <a:pt x="4180" y="330"/>
                  </a:lnTo>
                  <a:lnTo>
                    <a:pt x="4196" y="332"/>
                  </a:lnTo>
                  <a:lnTo>
                    <a:pt x="4210" y="334"/>
                  </a:lnTo>
                  <a:lnTo>
                    <a:pt x="4225" y="337"/>
                  </a:lnTo>
                  <a:lnTo>
                    <a:pt x="4239" y="341"/>
                  </a:lnTo>
                  <a:lnTo>
                    <a:pt x="4251" y="346"/>
                  </a:lnTo>
                  <a:lnTo>
                    <a:pt x="4264" y="350"/>
                  </a:lnTo>
                  <a:lnTo>
                    <a:pt x="4276" y="356"/>
                  </a:lnTo>
                  <a:lnTo>
                    <a:pt x="4288" y="362"/>
                  </a:lnTo>
                  <a:lnTo>
                    <a:pt x="4300" y="369"/>
                  </a:lnTo>
                  <a:lnTo>
                    <a:pt x="4309" y="375"/>
                  </a:lnTo>
                  <a:lnTo>
                    <a:pt x="4320" y="384"/>
                  </a:lnTo>
                  <a:lnTo>
                    <a:pt x="4329" y="393"/>
                  </a:lnTo>
                  <a:lnTo>
                    <a:pt x="4338" y="401"/>
                  </a:lnTo>
                  <a:lnTo>
                    <a:pt x="4347" y="411"/>
                  </a:lnTo>
                  <a:lnTo>
                    <a:pt x="4354" y="420"/>
                  </a:lnTo>
                  <a:lnTo>
                    <a:pt x="4362" y="431"/>
                  </a:lnTo>
                  <a:lnTo>
                    <a:pt x="4369" y="442"/>
                  </a:lnTo>
                  <a:lnTo>
                    <a:pt x="4375" y="453"/>
                  </a:lnTo>
                  <a:lnTo>
                    <a:pt x="4381" y="465"/>
                  </a:lnTo>
                  <a:lnTo>
                    <a:pt x="4386" y="478"/>
                  </a:lnTo>
                  <a:lnTo>
                    <a:pt x="4391" y="490"/>
                  </a:lnTo>
                  <a:lnTo>
                    <a:pt x="4396" y="504"/>
                  </a:lnTo>
                  <a:lnTo>
                    <a:pt x="4399" y="517"/>
                  </a:lnTo>
                  <a:lnTo>
                    <a:pt x="4403" y="530"/>
                  </a:lnTo>
                  <a:lnTo>
                    <a:pt x="4405" y="545"/>
                  </a:lnTo>
                  <a:lnTo>
                    <a:pt x="4407" y="560"/>
                  </a:lnTo>
                  <a:lnTo>
                    <a:pt x="4411" y="590"/>
                  </a:lnTo>
                  <a:lnTo>
                    <a:pt x="4412" y="622"/>
                  </a:lnTo>
                  <a:lnTo>
                    <a:pt x="4412" y="656"/>
                  </a:lnTo>
                  <a:lnTo>
                    <a:pt x="3988" y="656"/>
                  </a:lnTo>
                  <a:lnTo>
                    <a:pt x="3988" y="683"/>
                  </a:lnTo>
                  <a:lnTo>
                    <a:pt x="3992" y="710"/>
                  </a:lnTo>
                  <a:lnTo>
                    <a:pt x="3996" y="738"/>
                  </a:lnTo>
                  <a:lnTo>
                    <a:pt x="4002" y="765"/>
                  </a:lnTo>
                  <a:lnTo>
                    <a:pt x="4006" y="780"/>
                  </a:lnTo>
                  <a:lnTo>
                    <a:pt x="4010" y="793"/>
                  </a:lnTo>
                  <a:lnTo>
                    <a:pt x="4015" y="807"/>
                  </a:lnTo>
                  <a:lnTo>
                    <a:pt x="4021" y="821"/>
                  </a:lnTo>
                  <a:lnTo>
                    <a:pt x="4026" y="834"/>
                  </a:lnTo>
                  <a:lnTo>
                    <a:pt x="4033" y="848"/>
                  </a:lnTo>
                  <a:lnTo>
                    <a:pt x="4040" y="861"/>
                  </a:lnTo>
                  <a:lnTo>
                    <a:pt x="4047" y="872"/>
                  </a:lnTo>
                  <a:lnTo>
                    <a:pt x="4056" y="884"/>
                  </a:lnTo>
                  <a:lnTo>
                    <a:pt x="4064" y="896"/>
                  </a:lnTo>
                  <a:lnTo>
                    <a:pt x="4074" y="908"/>
                  </a:lnTo>
                  <a:lnTo>
                    <a:pt x="4084" y="917"/>
                  </a:lnTo>
                  <a:lnTo>
                    <a:pt x="4094" y="928"/>
                  </a:lnTo>
                  <a:lnTo>
                    <a:pt x="4106" y="936"/>
                  </a:lnTo>
                  <a:lnTo>
                    <a:pt x="4118" y="945"/>
                  </a:lnTo>
                  <a:lnTo>
                    <a:pt x="4131" y="953"/>
                  </a:lnTo>
                  <a:lnTo>
                    <a:pt x="4143" y="961"/>
                  </a:lnTo>
                  <a:lnTo>
                    <a:pt x="4157" y="966"/>
                  </a:lnTo>
                  <a:lnTo>
                    <a:pt x="4172" y="973"/>
                  </a:lnTo>
                  <a:lnTo>
                    <a:pt x="4188" y="977"/>
                  </a:lnTo>
                  <a:lnTo>
                    <a:pt x="4204" y="980"/>
                  </a:lnTo>
                  <a:lnTo>
                    <a:pt x="4220" y="983"/>
                  </a:lnTo>
                  <a:lnTo>
                    <a:pt x="4239" y="984"/>
                  </a:lnTo>
                  <a:lnTo>
                    <a:pt x="4257" y="986"/>
                  </a:lnTo>
                  <a:lnTo>
                    <a:pt x="4279" y="984"/>
                  </a:lnTo>
                  <a:lnTo>
                    <a:pt x="4301" y="982"/>
                  </a:lnTo>
                  <a:lnTo>
                    <a:pt x="4320" y="980"/>
                  </a:lnTo>
                  <a:lnTo>
                    <a:pt x="4337" y="976"/>
                  </a:lnTo>
                  <a:lnTo>
                    <a:pt x="4369" y="968"/>
                  </a:lnTo>
                  <a:lnTo>
                    <a:pt x="4395" y="960"/>
                  </a:lnTo>
                  <a:lnTo>
                    <a:pt x="4395" y="1069"/>
                  </a:lnTo>
                  <a:close/>
                  <a:moveTo>
                    <a:pt x="3455" y="986"/>
                  </a:moveTo>
                  <a:lnTo>
                    <a:pt x="3465" y="986"/>
                  </a:lnTo>
                  <a:lnTo>
                    <a:pt x="3474" y="984"/>
                  </a:lnTo>
                  <a:lnTo>
                    <a:pt x="3483" y="982"/>
                  </a:lnTo>
                  <a:lnTo>
                    <a:pt x="3491" y="980"/>
                  </a:lnTo>
                  <a:lnTo>
                    <a:pt x="3500" y="977"/>
                  </a:lnTo>
                  <a:lnTo>
                    <a:pt x="3507" y="973"/>
                  </a:lnTo>
                  <a:lnTo>
                    <a:pt x="3515" y="968"/>
                  </a:lnTo>
                  <a:lnTo>
                    <a:pt x="3522" y="964"/>
                  </a:lnTo>
                  <a:lnTo>
                    <a:pt x="3529" y="959"/>
                  </a:lnTo>
                  <a:lnTo>
                    <a:pt x="3535" y="952"/>
                  </a:lnTo>
                  <a:lnTo>
                    <a:pt x="3542" y="946"/>
                  </a:lnTo>
                  <a:lnTo>
                    <a:pt x="3547" y="939"/>
                  </a:lnTo>
                  <a:lnTo>
                    <a:pt x="3558" y="924"/>
                  </a:lnTo>
                  <a:lnTo>
                    <a:pt x="3566" y="905"/>
                  </a:lnTo>
                  <a:lnTo>
                    <a:pt x="3575" y="886"/>
                  </a:lnTo>
                  <a:lnTo>
                    <a:pt x="3581" y="865"/>
                  </a:lnTo>
                  <a:lnTo>
                    <a:pt x="3586" y="842"/>
                  </a:lnTo>
                  <a:lnTo>
                    <a:pt x="3591" y="819"/>
                  </a:lnTo>
                  <a:lnTo>
                    <a:pt x="3594" y="793"/>
                  </a:lnTo>
                  <a:lnTo>
                    <a:pt x="3596" y="767"/>
                  </a:lnTo>
                  <a:lnTo>
                    <a:pt x="3597" y="739"/>
                  </a:lnTo>
                  <a:lnTo>
                    <a:pt x="3598" y="711"/>
                  </a:lnTo>
                  <a:lnTo>
                    <a:pt x="3597" y="690"/>
                  </a:lnTo>
                  <a:lnTo>
                    <a:pt x="3597" y="667"/>
                  </a:lnTo>
                  <a:lnTo>
                    <a:pt x="3595" y="645"/>
                  </a:lnTo>
                  <a:lnTo>
                    <a:pt x="3593" y="621"/>
                  </a:lnTo>
                  <a:lnTo>
                    <a:pt x="3590" y="598"/>
                  </a:lnTo>
                  <a:lnTo>
                    <a:pt x="3585" y="575"/>
                  </a:lnTo>
                  <a:lnTo>
                    <a:pt x="3580" y="553"/>
                  </a:lnTo>
                  <a:lnTo>
                    <a:pt x="3574" y="531"/>
                  </a:lnTo>
                  <a:lnTo>
                    <a:pt x="3569" y="522"/>
                  </a:lnTo>
                  <a:lnTo>
                    <a:pt x="3565" y="512"/>
                  </a:lnTo>
                  <a:lnTo>
                    <a:pt x="3561" y="503"/>
                  </a:lnTo>
                  <a:lnTo>
                    <a:pt x="3555" y="494"/>
                  </a:lnTo>
                  <a:lnTo>
                    <a:pt x="3549" y="486"/>
                  </a:lnTo>
                  <a:lnTo>
                    <a:pt x="3544" y="477"/>
                  </a:lnTo>
                  <a:lnTo>
                    <a:pt x="3536" y="471"/>
                  </a:lnTo>
                  <a:lnTo>
                    <a:pt x="3530" y="463"/>
                  </a:lnTo>
                  <a:lnTo>
                    <a:pt x="3521" y="458"/>
                  </a:lnTo>
                  <a:lnTo>
                    <a:pt x="3514" y="451"/>
                  </a:lnTo>
                  <a:lnTo>
                    <a:pt x="3505" y="447"/>
                  </a:lnTo>
                  <a:lnTo>
                    <a:pt x="3496" y="443"/>
                  </a:lnTo>
                  <a:lnTo>
                    <a:pt x="3485" y="440"/>
                  </a:lnTo>
                  <a:lnTo>
                    <a:pt x="3474" y="437"/>
                  </a:lnTo>
                  <a:lnTo>
                    <a:pt x="3464" y="436"/>
                  </a:lnTo>
                  <a:lnTo>
                    <a:pt x="3452" y="436"/>
                  </a:lnTo>
                  <a:lnTo>
                    <a:pt x="3441" y="436"/>
                  </a:lnTo>
                  <a:lnTo>
                    <a:pt x="3431" y="437"/>
                  </a:lnTo>
                  <a:lnTo>
                    <a:pt x="3422" y="440"/>
                  </a:lnTo>
                  <a:lnTo>
                    <a:pt x="3412" y="443"/>
                  </a:lnTo>
                  <a:lnTo>
                    <a:pt x="3404" y="447"/>
                  </a:lnTo>
                  <a:lnTo>
                    <a:pt x="3395" y="451"/>
                  </a:lnTo>
                  <a:lnTo>
                    <a:pt x="3388" y="457"/>
                  </a:lnTo>
                  <a:lnTo>
                    <a:pt x="3380" y="462"/>
                  </a:lnTo>
                  <a:lnTo>
                    <a:pt x="3373" y="468"/>
                  </a:lnTo>
                  <a:lnTo>
                    <a:pt x="3365" y="476"/>
                  </a:lnTo>
                  <a:lnTo>
                    <a:pt x="3359" y="483"/>
                  </a:lnTo>
                  <a:lnTo>
                    <a:pt x="3352" y="492"/>
                  </a:lnTo>
                  <a:lnTo>
                    <a:pt x="3342" y="509"/>
                  </a:lnTo>
                  <a:lnTo>
                    <a:pt x="3331" y="528"/>
                  </a:lnTo>
                  <a:lnTo>
                    <a:pt x="3322" y="550"/>
                  </a:lnTo>
                  <a:lnTo>
                    <a:pt x="3315" y="572"/>
                  </a:lnTo>
                  <a:lnTo>
                    <a:pt x="3309" y="595"/>
                  </a:lnTo>
                  <a:lnTo>
                    <a:pt x="3304" y="618"/>
                  </a:lnTo>
                  <a:lnTo>
                    <a:pt x="3300" y="642"/>
                  </a:lnTo>
                  <a:lnTo>
                    <a:pt x="3297" y="665"/>
                  </a:lnTo>
                  <a:lnTo>
                    <a:pt x="3296" y="690"/>
                  </a:lnTo>
                  <a:lnTo>
                    <a:pt x="3295" y="712"/>
                  </a:lnTo>
                  <a:lnTo>
                    <a:pt x="3296" y="737"/>
                  </a:lnTo>
                  <a:lnTo>
                    <a:pt x="3297" y="761"/>
                  </a:lnTo>
                  <a:lnTo>
                    <a:pt x="3299" y="786"/>
                  </a:lnTo>
                  <a:lnTo>
                    <a:pt x="3303" y="809"/>
                  </a:lnTo>
                  <a:lnTo>
                    <a:pt x="3307" y="833"/>
                  </a:lnTo>
                  <a:lnTo>
                    <a:pt x="3313" y="855"/>
                  </a:lnTo>
                  <a:lnTo>
                    <a:pt x="3320" y="877"/>
                  </a:lnTo>
                  <a:lnTo>
                    <a:pt x="3329" y="897"/>
                  </a:lnTo>
                  <a:lnTo>
                    <a:pt x="3333" y="906"/>
                  </a:lnTo>
                  <a:lnTo>
                    <a:pt x="3338" y="916"/>
                  </a:lnTo>
                  <a:lnTo>
                    <a:pt x="3344" y="925"/>
                  </a:lnTo>
                  <a:lnTo>
                    <a:pt x="3350" y="933"/>
                  </a:lnTo>
                  <a:lnTo>
                    <a:pt x="3357" y="941"/>
                  </a:lnTo>
                  <a:lnTo>
                    <a:pt x="3363" y="948"/>
                  </a:lnTo>
                  <a:lnTo>
                    <a:pt x="3371" y="955"/>
                  </a:lnTo>
                  <a:lnTo>
                    <a:pt x="3378" y="961"/>
                  </a:lnTo>
                  <a:lnTo>
                    <a:pt x="3386" y="966"/>
                  </a:lnTo>
                  <a:lnTo>
                    <a:pt x="3394" y="972"/>
                  </a:lnTo>
                  <a:lnTo>
                    <a:pt x="3404" y="976"/>
                  </a:lnTo>
                  <a:lnTo>
                    <a:pt x="3412" y="979"/>
                  </a:lnTo>
                  <a:lnTo>
                    <a:pt x="3423" y="981"/>
                  </a:lnTo>
                  <a:lnTo>
                    <a:pt x="3433" y="983"/>
                  </a:lnTo>
                  <a:lnTo>
                    <a:pt x="3443" y="984"/>
                  </a:lnTo>
                  <a:lnTo>
                    <a:pt x="3455" y="986"/>
                  </a:lnTo>
                  <a:close/>
                  <a:moveTo>
                    <a:pt x="3157" y="346"/>
                  </a:moveTo>
                  <a:lnTo>
                    <a:pt x="3295" y="346"/>
                  </a:lnTo>
                  <a:lnTo>
                    <a:pt x="3295" y="456"/>
                  </a:lnTo>
                  <a:lnTo>
                    <a:pt x="3298" y="456"/>
                  </a:lnTo>
                  <a:lnTo>
                    <a:pt x="3302" y="448"/>
                  </a:lnTo>
                  <a:lnTo>
                    <a:pt x="3306" y="439"/>
                  </a:lnTo>
                  <a:lnTo>
                    <a:pt x="3313" y="429"/>
                  </a:lnTo>
                  <a:lnTo>
                    <a:pt x="3320" y="418"/>
                  </a:lnTo>
                  <a:lnTo>
                    <a:pt x="3329" y="408"/>
                  </a:lnTo>
                  <a:lnTo>
                    <a:pt x="3338" y="398"/>
                  </a:lnTo>
                  <a:lnTo>
                    <a:pt x="3349" y="387"/>
                  </a:lnTo>
                  <a:lnTo>
                    <a:pt x="3361" y="377"/>
                  </a:lnTo>
                  <a:lnTo>
                    <a:pt x="3374" y="367"/>
                  </a:lnTo>
                  <a:lnTo>
                    <a:pt x="3389" y="358"/>
                  </a:lnTo>
                  <a:lnTo>
                    <a:pt x="3404" y="350"/>
                  </a:lnTo>
                  <a:lnTo>
                    <a:pt x="3421" y="342"/>
                  </a:lnTo>
                  <a:lnTo>
                    <a:pt x="3439" y="337"/>
                  </a:lnTo>
                  <a:lnTo>
                    <a:pt x="3458" y="333"/>
                  </a:lnTo>
                  <a:lnTo>
                    <a:pt x="3479" y="330"/>
                  </a:lnTo>
                  <a:lnTo>
                    <a:pt x="3501" y="328"/>
                  </a:lnTo>
                  <a:lnTo>
                    <a:pt x="3517" y="328"/>
                  </a:lnTo>
                  <a:lnTo>
                    <a:pt x="3533" y="331"/>
                  </a:lnTo>
                  <a:lnTo>
                    <a:pt x="3548" y="333"/>
                  </a:lnTo>
                  <a:lnTo>
                    <a:pt x="3562" y="336"/>
                  </a:lnTo>
                  <a:lnTo>
                    <a:pt x="3576" y="340"/>
                  </a:lnTo>
                  <a:lnTo>
                    <a:pt x="3590" y="345"/>
                  </a:lnTo>
                  <a:lnTo>
                    <a:pt x="3603" y="351"/>
                  </a:lnTo>
                  <a:lnTo>
                    <a:pt x="3614" y="357"/>
                  </a:lnTo>
                  <a:lnTo>
                    <a:pt x="3626" y="364"/>
                  </a:lnTo>
                  <a:lnTo>
                    <a:pt x="3637" y="372"/>
                  </a:lnTo>
                  <a:lnTo>
                    <a:pt x="3647" y="381"/>
                  </a:lnTo>
                  <a:lnTo>
                    <a:pt x="3658" y="390"/>
                  </a:lnTo>
                  <a:lnTo>
                    <a:pt x="3667" y="401"/>
                  </a:lnTo>
                  <a:lnTo>
                    <a:pt x="3676" y="412"/>
                  </a:lnTo>
                  <a:lnTo>
                    <a:pt x="3685" y="424"/>
                  </a:lnTo>
                  <a:lnTo>
                    <a:pt x="3692" y="435"/>
                  </a:lnTo>
                  <a:lnTo>
                    <a:pt x="3700" y="448"/>
                  </a:lnTo>
                  <a:lnTo>
                    <a:pt x="3706" y="461"/>
                  </a:lnTo>
                  <a:lnTo>
                    <a:pt x="3713" y="475"/>
                  </a:lnTo>
                  <a:lnTo>
                    <a:pt x="3718" y="490"/>
                  </a:lnTo>
                  <a:lnTo>
                    <a:pt x="3723" y="505"/>
                  </a:lnTo>
                  <a:lnTo>
                    <a:pt x="3729" y="520"/>
                  </a:lnTo>
                  <a:lnTo>
                    <a:pt x="3733" y="536"/>
                  </a:lnTo>
                  <a:lnTo>
                    <a:pt x="3737" y="553"/>
                  </a:lnTo>
                  <a:lnTo>
                    <a:pt x="3744" y="587"/>
                  </a:lnTo>
                  <a:lnTo>
                    <a:pt x="3748" y="622"/>
                  </a:lnTo>
                  <a:lnTo>
                    <a:pt x="3750" y="660"/>
                  </a:lnTo>
                  <a:lnTo>
                    <a:pt x="3751" y="698"/>
                  </a:lnTo>
                  <a:lnTo>
                    <a:pt x="3751" y="722"/>
                  </a:lnTo>
                  <a:lnTo>
                    <a:pt x="3750" y="743"/>
                  </a:lnTo>
                  <a:lnTo>
                    <a:pt x="3749" y="764"/>
                  </a:lnTo>
                  <a:lnTo>
                    <a:pt x="3747" y="786"/>
                  </a:lnTo>
                  <a:lnTo>
                    <a:pt x="3745" y="806"/>
                  </a:lnTo>
                  <a:lnTo>
                    <a:pt x="3742" y="825"/>
                  </a:lnTo>
                  <a:lnTo>
                    <a:pt x="3738" y="845"/>
                  </a:lnTo>
                  <a:lnTo>
                    <a:pt x="3734" y="863"/>
                  </a:lnTo>
                  <a:lnTo>
                    <a:pt x="3730" y="881"/>
                  </a:lnTo>
                  <a:lnTo>
                    <a:pt x="3724" y="898"/>
                  </a:lnTo>
                  <a:lnTo>
                    <a:pt x="3719" y="915"/>
                  </a:lnTo>
                  <a:lnTo>
                    <a:pt x="3714" y="931"/>
                  </a:lnTo>
                  <a:lnTo>
                    <a:pt x="3706" y="946"/>
                  </a:lnTo>
                  <a:lnTo>
                    <a:pt x="3700" y="960"/>
                  </a:lnTo>
                  <a:lnTo>
                    <a:pt x="3692" y="974"/>
                  </a:lnTo>
                  <a:lnTo>
                    <a:pt x="3685" y="988"/>
                  </a:lnTo>
                  <a:lnTo>
                    <a:pt x="3676" y="999"/>
                  </a:lnTo>
                  <a:lnTo>
                    <a:pt x="3667" y="1011"/>
                  </a:lnTo>
                  <a:lnTo>
                    <a:pt x="3657" y="1022"/>
                  </a:lnTo>
                  <a:lnTo>
                    <a:pt x="3647" y="1033"/>
                  </a:lnTo>
                  <a:lnTo>
                    <a:pt x="3637" y="1042"/>
                  </a:lnTo>
                  <a:lnTo>
                    <a:pt x="3626" y="1051"/>
                  </a:lnTo>
                  <a:lnTo>
                    <a:pt x="3615" y="1058"/>
                  </a:lnTo>
                  <a:lnTo>
                    <a:pt x="3604" y="1066"/>
                  </a:lnTo>
                  <a:lnTo>
                    <a:pt x="3591" y="1072"/>
                  </a:lnTo>
                  <a:lnTo>
                    <a:pt x="3578" y="1077"/>
                  </a:lnTo>
                  <a:lnTo>
                    <a:pt x="3565" y="1082"/>
                  </a:lnTo>
                  <a:lnTo>
                    <a:pt x="3551" y="1086"/>
                  </a:lnTo>
                  <a:lnTo>
                    <a:pt x="3537" y="1089"/>
                  </a:lnTo>
                  <a:lnTo>
                    <a:pt x="3523" y="1091"/>
                  </a:lnTo>
                  <a:lnTo>
                    <a:pt x="3508" y="1092"/>
                  </a:lnTo>
                  <a:lnTo>
                    <a:pt x="3493" y="1092"/>
                  </a:lnTo>
                  <a:lnTo>
                    <a:pt x="3471" y="1092"/>
                  </a:lnTo>
                  <a:lnTo>
                    <a:pt x="3451" y="1089"/>
                  </a:lnTo>
                  <a:lnTo>
                    <a:pt x="3431" y="1086"/>
                  </a:lnTo>
                  <a:lnTo>
                    <a:pt x="3414" y="1081"/>
                  </a:lnTo>
                  <a:lnTo>
                    <a:pt x="3398" y="1074"/>
                  </a:lnTo>
                  <a:lnTo>
                    <a:pt x="3383" y="1067"/>
                  </a:lnTo>
                  <a:lnTo>
                    <a:pt x="3369" y="1059"/>
                  </a:lnTo>
                  <a:lnTo>
                    <a:pt x="3357" y="1050"/>
                  </a:lnTo>
                  <a:lnTo>
                    <a:pt x="3346" y="1041"/>
                  </a:lnTo>
                  <a:lnTo>
                    <a:pt x="3336" y="1031"/>
                  </a:lnTo>
                  <a:lnTo>
                    <a:pt x="3327" y="1022"/>
                  </a:lnTo>
                  <a:lnTo>
                    <a:pt x="3319" y="1012"/>
                  </a:lnTo>
                  <a:lnTo>
                    <a:pt x="3313" y="1003"/>
                  </a:lnTo>
                  <a:lnTo>
                    <a:pt x="3306" y="993"/>
                  </a:lnTo>
                  <a:lnTo>
                    <a:pt x="3302" y="984"/>
                  </a:lnTo>
                  <a:lnTo>
                    <a:pt x="3298" y="976"/>
                  </a:lnTo>
                  <a:lnTo>
                    <a:pt x="3295" y="976"/>
                  </a:lnTo>
                  <a:lnTo>
                    <a:pt x="3295" y="1404"/>
                  </a:lnTo>
                  <a:lnTo>
                    <a:pt x="3157" y="1404"/>
                  </a:lnTo>
                  <a:lnTo>
                    <a:pt x="3157" y="346"/>
                  </a:lnTo>
                  <a:close/>
                  <a:moveTo>
                    <a:pt x="1985" y="17"/>
                  </a:moveTo>
                  <a:lnTo>
                    <a:pt x="2123" y="17"/>
                  </a:lnTo>
                  <a:lnTo>
                    <a:pt x="2123" y="502"/>
                  </a:lnTo>
                  <a:lnTo>
                    <a:pt x="2126" y="502"/>
                  </a:lnTo>
                  <a:lnTo>
                    <a:pt x="2131" y="490"/>
                  </a:lnTo>
                  <a:lnTo>
                    <a:pt x="2137" y="477"/>
                  </a:lnTo>
                  <a:lnTo>
                    <a:pt x="2143" y="463"/>
                  </a:lnTo>
                  <a:lnTo>
                    <a:pt x="2152" y="449"/>
                  </a:lnTo>
                  <a:lnTo>
                    <a:pt x="2160" y="434"/>
                  </a:lnTo>
                  <a:lnTo>
                    <a:pt x="2171" y="420"/>
                  </a:lnTo>
                  <a:lnTo>
                    <a:pt x="2182" y="406"/>
                  </a:lnTo>
                  <a:lnTo>
                    <a:pt x="2195" y="393"/>
                  </a:lnTo>
                  <a:lnTo>
                    <a:pt x="2210" y="380"/>
                  </a:lnTo>
                  <a:lnTo>
                    <a:pt x="2226" y="367"/>
                  </a:lnTo>
                  <a:lnTo>
                    <a:pt x="2243" y="356"/>
                  </a:lnTo>
                  <a:lnTo>
                    <a:pt x="2262" y="347"/>
                  </a:lnTo>
                  <a:lnTo>
                    <a:pt x="2273" y="343"/>
                  </a:lnTo>
                  <a:lnTo>
                    <a:pt x="2283" y="339"/>
                  </a:lnTo>
                  <a:lnTo>
                    <a:pt x="2294" y="336"/>
                  </a:lnTo>
                  <a:lnTo>
                    <a:pt x="2306" y="334"/>
                  </a:lnTo>
                  <a:lnTo>
                    <a:pt x="2318" y="332"/>
                  </a:lnTo>
                  <a:lnTo>
                    <a:pt x="2330" y="330"/>
                  </a:lnTo>
                  <a:lnTo>
                    <a:pt x="2344" y="328"/>
                  </a:lnTo>
                  <a:lnTo>
                    <a:pt x="2357" y="328"/>
                  </a:lnTo>
                  <a:lnTo>
                    <a:pt x="2373" y="328"/>
                  </a:lnTo>
                  <a:lnTo>
                    <a:pt x="2388" y="331"/>
                  </a:lnTo>
                  <a:lnTo>
                    <a:pt x="2401" y="333"/>
                  </a:lnTo>
                  <a:lnTo>
                    <a:pt x="2415" y="335"/>
                  </a:lnTo>
                  <a:lnTo>
                    <a:pt x="2427" y="339"/>
                  </a:lnTo>
                  <a:lnTo>
                    <a:pt x="2438" y="343"/>
                  </a:lnTo>
                  <a:lnTo>
                    <a:pt x="2449" y="348"/>
                  </a:lnTo>
                  <a:lnTo>
                    <a:pt x="2460" y="353"/>
                  </a:lnTo>
                  <a:lnTo>
                    <a:pt x="2469" y="359"/>
                  </a:lnTo>
                  <a:lnTo>
                    <a:pt x="2478" y="366"/>
                  </a:lnTo>
                  <a:lnTo>
                    <a:pt x="2486" y="373"/>
                  </a:lnTo>
                  <a:lnTo>
                    <a:pt x="2494" y="381"/>
                  </a:lnTo>
                  <a:lnTo>
                    <a:pt x="2501" y="389"/>
                  </a:lnTo>
                  <a:lnTo>
                    <a:pt x="2508" y="397"/>
                  </a:lnTo>
                  <a:lnTo>
                    <a:pt x="2514" y="406"/>
                  </a:lnTo>
                  <a:lnTo>
                    <a:pt x="2520" y="415"/>
                  </a:lnTo>
                  <a:lnTo>
                    <a:pt x="2529" y="434"/>
                  </a:lnTo>
                  <a:lnTo>
                    <a:pt x="2537" y="453"/>
                  </a:lnTo>
                  <a:lnTo>
                    <a:pt x="2543" y="474"/>
                  </a:lnTo>
                  <a:lnTo>
                    <a:pt x="2547" y="494"/>
                  </a:lnTo>
                  <a:lnTo>
                    <a:pt x="2551" y="513"/>
                  </a:lnTo>
                  <a:lnTo>
                    <a:pt x="2553" y="534"/>
                  </a:lnTo>
                  <a:lnTo>
                    <a:pt x="2554" y="552"/>
                  </a:lnTo>
                  <a:lnTo>
                    <a:pt x="2554" y="570"/>
                  </a:lnTo>
                  <a:lnTo>
                    <a:pt x="2554" y="1076"/>
                  </a:lnTo>
                  <a:lnTo>
                    <a:pt x="2416" y="1076"/>
                  </a:lnTo>
                  <a:lnTo>
                    <a:pt x="2416" y="677"/>
                  </a:lnTo>
                  <a:lnTo>
                    <a:pt x="2416" y="629"/>
                  </a:lnTo>
                  <a:lnTo>
                    <a:pt x="2415" y="587"/>
                  </a:lnTo>
                  <a:lnTo>
                    <a:pt x="2413" y="569"/>
                  </a:lnTo>
                  <a:lnTo>
                    <a:pt x="2411" y="551"/>
                  </a:lnTo>
                  <a:lnTo>
                    <a:pt x="2407" y="536"/>
                  </a:lnTo>
                  <a:lnTo>
                    <a:pt x="2403" y="521"/>
                  </a:lnTo>
                  <a:lnTo>
                    <a:pt x="2398" y="509"/>
                  </a:lnTo>
                  <a:lnTo>
                    <a:pt x="2391" y="497"/>
                  </a:lnTo>
                  <a:lnTo>
                    <a:pt x="2388" y="493"/>
                  </a:lnTo>
                  <a:lnTo>
                    <a:pt x="2384" y="489"/>
                  </a:lnTo>
                  <a:lnTo>
                    <a:pt x="2379" y="484"/>
                  </a:lnTo>
                  <a:lnTo>
                    <a:pt x="2374" y="480"/>
                  </a:lnTo>
                  <a:lnTo>
                    <a:pt x="2368" y="477"/>
                  </a:lnTo>
                  <a:lnTo>
                    <a:pt x="2362" y="475"/>
                  </a:lnTo>
                  <a:lnTo>
                    <a:pt x="2356" y="473"/>
                  </a:lnTo>
                  <a:lnTo>
                    <a:pt x="2349" y="471"/>
                  </a:lnTo>
                  <a:lnTo>
                    <a:pt x="2334" y="467"/>
                  </a:lnTo>
                  <a:lnTo>
                    <a:pt x="2317" y="466"/>
                  </a:lnTo>
                  <a:lnTo>
                    <a:pt x="2306" y="467"/>
                  </a:lnTo>
                  <a:lnTo>
                    <a:pt x="2295" y="468"/>
                  </a:lnTo>
                  <a:lnTo>
                    <a:pt x="2286" y="471"/>
                  </a:lnTo>
                  <a:lnTo>
                    <a:pt x="2275" y="474"/>
                  </a:lnTo>
                  <a:lnTo>
                    <a:pt x="2265" y="477"/>
                  </a:lnTo>
                  <a:lnTo>
                    <a:pt x="2256" y="482"/>
                  </a:lnTo>
                  <a:lnTo>
                    <a:pt x="2247" y="487"/>
                  </a:lnTo>
                  <a:lnTo>
                    <a:pt x="2237" y="493"/>
                  </a:lnTo>
                  <a:lnTo>
                    <a:pt x="2229" y="499"/>
                  </a:lnTo>
                  <a:lnTo>
                    <a:pt x="2221" y="507"/>
                  </a:lnTo>
                  <a:lnTo>
                    <a:pt x="2213" y="514"/>
                  </a:lnTo>
                  <a:lnTo>
                    <a:pt x="2205" y="523"/>
                  </a:lnTo>
                  <a:lnTo>
                    <a:pt x="2198" y="531"/>
                  </a:lnTo>
                  <a:lnTo>
                    <a:pt x="2190" y="541"/>
                  </a:lnTo>
                  <a:lnTo>
                    <a:pt x="2183" y="552"/>
                  </a:lnTo>
                  <a:lnTo>
                    <a:pt x="2176" y="561"/>
                  </a:lnTo>
                  <a:lnTo>
                    <a:pt x="2165" y="584"/>
                  </a:lnTo>
                  <a:lnTo>
                    <a:pt x="2154" y="607"/>
                  </a:lnTo>
                  <a:lnTo>
                    <a:pt x="2144" y="632"/>
                  </a:lnTo>
                  <a:lnTo>
                    <a:pt x="2137" y="658"/>
                  </a:lnTo>
                  <a:lnTo>
                    <a:pt x="2131" y="684"/>
                  </a:lnTo>
                  <a:lnTo>
                    <a:pt x="2126" y="711"/>
                  </a:lnTo>
                  <a:lnTo>
                    <a:pt x="2123" y="739"/>
                  </a:lnTo>
                  <a:lnTo>
                    <a:pt x="2123" y="767"/>
                  </a:lnTo>
                  <a:lnTo>
                    <a:pt x="2123" y="1076"/>
                  </a:lnTo>
                  <a:lnTo>
                    <a:pt x="1985" y="1076"/>
                  </a:lnTo>
                  <a:lnTo>
                    <a:pt x="1985" y="17"/>
                  </a:lnTo>
                  <a:close/>
                  <a:moveTo>
                    <a:pt x="1502" y="968"/>
                  </a:moveTo>
                  <a:lnTo>
                    <a:pt x="1513" y="968"/>
                  </a:lnTo>
                  <a:lnTo>
                    <a:pt x="1523" y="966"/>
                  </a:lnTo>
                  <a:lnTo>
                    <a:pt x="1534" y="964"/>
                  </a:lnTo>
                  <a:lnTo>
                    <a:pt x="1544" y="962"/>
                  </a:lnTo>
                  <a:lnTo>
                    <a:pt x="1552" y="958"/>
                  </a:lnTo>
                  <a:lnTo>
                    <a:pt x="1561" y="953"/>
                  </a:lnTo>
                  <a:lnTo>
                    <a:pt x="1569" y="948"/>
                  </a:lnTo>
                  <a:lnTo>
                    <a:pt x="1578" y="942"/>
                  </a:lnTo>
                  <a:lnTo>
                    <a:pt x="1585" y="935"/>
                  </a:lnTo>
                  <a:lnTo>
                    <a:pt x="1592" y="928"/>
                  </a:lnTo>
                  <a:lnTo>
                    <a:pt x="1599" y="920"/>
                  </a:lnTo>
                  <a:lnTo>
                    <a:pt x="1606" y="913"/>
                  </a:lnTo>
                  <a:lnTo>
                    <a:pt x="1617" y="895"/>
                  </a:lnTo>
                  <a:lnTo>
                    <a:pt x="1627" y="875"/>
                  </a:lnTo>
                  <a:lnTo>
                    <a:pt x="1637" y="854"/>
                  </a:lnTo>
                  <a:lnTo>
                    <a:pt x="1644" y="832"/>
                  </a:lnTo>
                  <a:lnTo>
                    <a:pt x="1649" y="809"/>
                  </a:lnTo>
                  <a:lnTo>
                    <a:pt x="1655" y="786"/>
                  </a:lnTo>
                  <a:lnTo>
                    <a:pt x="1659" y="762"/>
                  </a:lnTo>
                  <a:lnTo>
                    <a:pt x="1661" y="739"/>
                  </a:lnTo>
                  <a:lnTo>
                    <a:pt x="1663" y="716"/>
                  </a:lnTo>
                  <a:lnTo>
                    <a:pt x="1663" y="694"/>
                  </a:lnTo>
                  <a:lnTo>
                    <a:pt x="1663" y="673"/>
                  </a:lnTo>
                  <a:lnTo>
                    <a:pt x="1661" y="651"/>
                  </a:lnTo>
                  <a:lnTo>
                    <a:pt x="1659" y="629"/>
                  </a:lnTo>
                  <a:lnTo>
                    <a:pt x="1656" y="607"/>
                  </a:lnTo>
                  <a:lnTo>
                    <a:pt x="1651" y="585"/>
                  </a:lnTo>
                  <a:lnTo>
                    <a:pt x="1645" y="564"/>
                  </a:lnTo>
                  <a:lnTo>
                    <a:pt x="1638" y="543"/>
                  </a:lnTo>
                  <a:lnTo>
                    <a:pt x="1629" y="523"/>
                  </a:lnTo>
                  <a:lnTo>
                    <a:pt x="1620" y="505"/>
                  </a:lnTo>
                  <a:lnTo>
                    <a:pt x="1608" y="489"/>
                  </a:lnTo>
                  <a:lnTo>
                    <a:pt x="1601" y="481"/>
                  </a:lnTo>
                  <a:lnTo>
                    <a:pt x="1595" y="474"/>
                  </a:lnTo>
                  <a:lnTo>
                    <a:pt x="1587" y="466"/>
                  </a:lnTo>
                  <a:lnTo>
                    <a:pt x="1580" y="461"/>
                  </a:lnTo>
                  <a:lnTo>
                    <a:pt x="1571" y="456"/>
                  </a:lnTo>
                  <a:lnTo>
                    <a:pt x="1564" y="450"/>
                  </a:lnTo>
                  <a:lnTo>
                    <a:pt x="1554" y="446"/>
                  </a:lnTo>
                  <a:lnTo>
                    <a:pt x="1546" y="443"/>
                  </a:lnTo>
                  <a:lnTo>
                    <a:pt x="1536" y="440"/>
                  </a:lnTo>
                  <a:lnTo>
                    <a:pt x="1525" y="437"/>
                  </a:lnTo>
                  <a:lnTo>
                    <a:pt x="1515" y="436"/>
                  </a:lnTo>
                  <a:lnTo>
                    <a:pt x="1504" y="436"/>
                  </a:lnTo>
                  <a:lnTo>
                    <a:pt x="1492" y="436"/>
                  </a:lnTo>
                  <a:lnTo>
                    <a:pt x="1482" y="437"/>
                  </a:lnTo>
                  <a:lnTo>
                    <a:pt x="1472" y="440"/>
                  </a:lnTo>
                  <a:lnTo>
                    <a:pt x="1462" y="443"/>
                  </a:lnTo>
                  <a:lnTo>
                    <a:pt x="1454" y="447"/>
                  </a:lnTo>
                  <a:lnTo>
                    <a:pt x="1445" y="451"/>
                  </a:lnTo>
                  <a:lnTo>
                    <a:pt x="1438" y="457"/>
                  </a:lnTo>
                  <a:lnTo>
                    <a:pt x="1430" y="463"/>
                  </a:lnTo>
                  <a:lnTo>
                    <a:pt x="1423" y="470"/>
                  </a:lnTo>
                  <a:lnTo>
                    <a:pt x="1416" y="477"/>
                  </a:lnTo>
                  <a:lnTo>
                    <a:pt x="1411" y="484"/>
                  </a:lnTo>
                  <a:lnTo>
                    <a:pt x="1406" y="493"/>
                  </a:lnTo>
                  <a:lnTo>
                    <a:pt x="1395" y="511"/>
                  </a:lnTo>
                  <a:lnTo>
                    <a:pt x="1386" y="530"/>
                  </a:lnTo>
                  <a:lnTo>
                    <a:pt x="1380" y="552"/>
                  </a:lnTo>
                  <a:lnTo>
                    <a:pt x="1374" y="573"/>
                  </a:lnTo>
                  <a:lnTo>
                    <a:pt x="1369" y="596"/>
                  </a:lnTo>
                  <a:lnTo>
                    <a:pt x="1366" y="619"/>
                  </a:lnTo>
                  <a:lnTo>
                    <a:pt x="1364" y="642"/>
                  </a:lnTo>
                  <a:lnTo>
                    <a:pt x="1362" y="664"/>
                  </a:lnTo>
                  <a:lnTo>
                    <a:pt x="1361" y="686"/>
                  </a:lnTo>
                  <a:lnTo>
                    <a:pt x="1361" y="708"/>
                  </a:lnTo>
                  <a:lnTo>
                    <a:pt x="1361" y="727"/>
                  </a:lnTo>
                  <a:lnTo>
                    <a:pt x="1362" y="746"/>
                  </a:lnTo>
                  <a:lnTo>
                    <a:pt x="1363" y="768"/>
                  </a:lnTo>
                  <a:lnTo>
                    <a:pt x="1365" y="789"/>
                  </a:lnTo>
                  <a:lnTo>
                    <a:pt x="1369" y="811"/>
                  </a:lnTo>
                  <a:lnTo>
                    <a:pt x="1374" y="833"/>
                  </a:lnTo>
                  <a:lnTo>
                    <a:pt x="1379" y="854"/>
                  </a:lnTo>
                  <a:lnTo>
                    <a:pt x="1385" y="874"/>
                  </a:lnTo>
                  <a:lnTo>
                    <a:pt x="1394" y="894"/>
                  </a:lnTo>
                  <a:lnTo>
                    <a:pt x="1404" y="912"/>
                  </a:lnTo>
                  <a:lnTo>
                    <a:pt x="1409" y="919"/>
                  </a:lnTo>
                  <a:lnTo>
                    <a:pt x="1415" y="928"/>
                  </a:lnTo>
                  <a:lnTo>
                    <a:pt x="1422" y="935"/>
                  </a:lnTo>
                  <a:lnTo>
                    <a:pt x="1428" y="942"/>
                  </a:lnTo>
                  <a:lnTo>
                    <a:pt x="1436" y="947"/>
                  </a:lnTo>
                  <a:lnTo>
                    <a:pt x="1443" y="952"/>
                  </a:lnTo>
                  <a:lnTo>
                    <a:pt x="1452" y="958"/>
                  </a:lnTo>
                  <a:lnTo>
                    <a:pt x="1461" y="961"/>
                  </a:lnTo>
                  <a:lnTo>
                    <a:pt x="1470" y="964"/>
                  </a:lnTo>
                  <a:lnTo>
                    <a:pt x="1481" y="966"/>
                  </a:lnTo>
                  <a:lnTo>
                    <a:pt x="1491" y="968"/>
                  </a:lnTo>
                  <a:lnTo>
                    <a:pt x="1502" y="968"/>
                  </a:lnTo>
                  <a:close/>
                  <a:moveTo>
                    <a:pt x="1801" y="1105"/>
                  </a:moveTo>
                  <a:lnTo>
                    <a:pt x="1801" y="1124"/>
                  </a:lnTo>
                  <a:lnTo>
                    <a:pt x="1800" y="1144"/>
                  </a:lnTo>
                  <a:lnTo>
                    <a:pt x="1798" y="1162"/>
                  </a:lnTo>
                  <a:lnTo>
                    <a:pt x="1796" y="1179"/>
                  </a:lnTo>
                  <a:lnTo>
                    <a:pt x="1793" y="1196"/>
                  </a:lnTo>
                  <a:lnTo>
                    <a:pt x="1790" y="1211"/>
                  </a:lnTo>
                  <a:lnTo>
                    <a:pt x="1784" y="1227"/>
                  </a:lnTo>
                  <a:lnTo>
                    <a:pt x="1780" y="1241"/>
                  </a:lnTo>
                  <a:lnTo>
                    <a:pt x="1773" y="1255"/>
                  </a:lnTo>
                  <a:lnTo>
                    <a:pt x="1767" y="1269"/>
                  </a:lnTo>
                  <a:lnTo>
                    <a:pt x="1760" y="1281"/>
                  </a:lnTo>
                  <a:lnTo>
                    <a:pt x="1752" y="1293"/>
                  </a:lnTo>
                  <a:lnTo>
                    <a:pt x="1744" y="1304"/>
                  </a:lnTo>
                  <a:lnTo>
                    <a:pt x="1735" y="1315"/>
                  </a:lnTo>
                  <a:lnTo>
                    <a:pt x="1725" y="1325"/>
                  </a:lnTo>
                  <a:lnTo>
                    <a:pt x="1715" y="1334"/>
                  </a:lnTo>
                  <a:lnTo>
                    <a:pt x="1704" y="1342"/>
                  </a:lnTo>
                  <a:lnTo>
                    <a:pt x="1692" y="1351"/>
                  </a:lnTo>
                  <a:lnTo>
                    <a:pt x="1679" y="1358"/>
                  </a:lnTo>
                  <a:lnTo>
                    <a:pt x="1667" y="1366"/>
                  </a:lnTo>
                  <a:lnTo>
                    <a:pt x="1653" y="1372"/>
                  </a:lnTo>
                  <a:lnTo>
                    <a:pt x="1639" y="1378"/>
                  </a:lnTo>
                  <a:lnTo>
                    <a:pt x="1624" y="1383"/>
                  </a:lnTo>
                  <a:lnTo>
                    <a:pt x="1609" y="1387"/>
                  </a:lnTo>
                  <a:lnTo>
                    <a:pt x="1593" y="1392"/>
                  </a:lnTo>
                  <a:lnTo>
                    <a:pt x="1576" y="1395"/>
                  </a:lnTo>
                  <a:lnTo>
                    <a:pt x="1559" y="1398"/>
                  </a:lnTo>
                  <a:lnTo>
                    <a:pt x="1540" y="1400"/>
                  </a:lnTo>
                  <a:lnTo>
                    <a:pt x="1522" y="1402"/>
                  </a:lnTo>
                  <a:lnTo>
                    <a:pt x="1504" y="1403"/>
                  </a:lnTo>
                  <a:lnTo>
                    <a:pt x="1484" y="1404"/>
                  </a:lnTo>
                  <a:lnTo>
                    <a:pt x="1463" y="1404"/>
                  </a:lnTo>
                  <a:lnTo>
                    <a:pt x="1423" y="1403"/>
                  </a:lnTo>
                  <a:lnTo>
                    <a:pt x="1385" y="1401"/>
                  </a:lnTo>
                  <a:lnTo>
                    <a:pt x="1351" y="1398"/>
                  </a:lnTo>
                  <a:lnTo>
                    <a:pt x="1321" y="1394"/>
                  </a:lnTo>
                  <a:lnTo>
                    <a:pt x="1295" y="1389"/>
                  </a:lnTo>
                  <a:lnTo>
                    <a:pt x="1272" y="1385"/>
                  </a:lnTo>
                  <a:lnTo>
                    <a:pt x="1254" y="1382"/>
                  </a:lnTo>
                  <a:lnTo>
                    <a:pt x="1240" y="1379"/>
                  </a:lnTo>
                  <a:lnTo>
                    <a:pt x="1240" y="1239"/>
                  </a:lnTo>
                  <a:lnTo>
                    <a:pt x="1258" y="1247"/>
                  </a:lnTo>
                  <a:lnTo>
                    <a:pt x="1279" y="1257"/>
                  </a:lnTo>
                  <a:lnTo>
                    <a:pt x="1302" y="1267"/>
                  </a:lnTo>
                  <a:lnTo>
                    <a:pt x="1328" y="1276"/>
                  </a:lnTo>
                  <a:lnTo>
                    <a:pt x="1355" y="1284"/>
                  </a:lnTo>
                  <a:lnTo>
                    <a:pt x="1385" y="1291"/>
                  </a:lnTo>
                  <a:lnTo>
                    <a:pt x="1401" y="1293"/>
                  </a:lnTo>
                  <a:lnTo>
                    <a:pt x="1417" y="1295"/>
                  </a:lnTo>
                  <a:lnTo>
                    <a:pt x="1434" y="1296"/>
                  </a:lnTo>
                  <a:lnTo>
                    <a:pt x="1450" y="1296"/>
                  </a:lnTo>
                  <a:lnTo>
                    <a:pt x="1470" y="1296"/>
                  </a:lnTo>
                  <a:lnTo>
                    <a:pt x="1488" y="1295"/>
                  </a:lnTo>
                  <a:lnTo>
                    <a:pt x="1504" y="1293"/>
                  </a:lnTo>
                  <a:lnTo>
                    <a:pt x="1520" y="1290"/>
                  </a:lnTo>
                  <a:lnTo>
                    <a:pt x="1535" y="1287"/>
                  </a:lnTo>
                  <a:lnTo>
                    <a:pt x="1549" y="1283"/>
                  </a:lnTo>
                  <a:lnTo>
                    <a:pt x="1562" y="1278"/>
                  </a:lnTo>
                  <a:lnTo>
                    <a:pt x="1574" y="1272"/>
                  </a:lnTo>
                  <a:lnTo>
                    <a:pt x="1584" y="1267"/>
                  </a:lnTo>
                  <a:lnTo>
                    <a:pt x="1594" y="1260"/>
                  </a:lnTo>
                  <a:lnTo>
                    <a:pt x="1604" y="1253"/>
                  </a:lnTo>
                  <a:lnTo>
                    <a:pt x="1611" y="1245"/>
                  </a:lnTo>
                  <a:lnTo>
                    <a:pt x="1618" y="1238"/>
                  </a:lnTo>
                  <a:lnTo>
                    <a:pt x="1626" y="1229"/>
                  </a:lnTo>
                  <a:lnTo>
                    <a:pt x="1631" y="1221"/>
                  </a:lnTo>
                  <a:lnTo>
                    <a:pt x="1637" y="1212"/>
                  </a:lnTo>
                  <a:lnTo>
                    <a:pt x="1642" y="1203"/>
                  </a:lnTo>
                  <a:lnTo>
                    <a:pt x="1645" y="1194"/>
                  </a:lnTo>
                  <a:lnTo>
                    <a:pt x="1649" y="1184"/>
                  </a:lnTo>
                  <a:lnTo>
                    <a:pt x="1653" y="1175"/>
                  </a:lnTo>
                  <a:lnTo>
                    <a:pt x="1657" y="1155"/>
                  </a:lnTo>
                  <a:lnTo>
                    <a:pt x="1660" y="1136"/>
                  </a:lnTo>
                  <a:lnTo>
                    <a:pt x="1662" y="1117"/>
                  </a:lnTo>
                  <a:lnTo>
                    <a:pt x="1663" y="1099"/>
                  </a:lnTo>
                  <a:lnTo>
                    <a:pt x="1663" y="1082"/>
                  </a:lnTo>
                  <a:lnTo>
                    <a:pt x="1663" y="1066"/>
                  </a:lnTo>
                  <a:lnTo>
                    <a:pt x="1663" y="951"/>
                  </a:lnTo>
                  <a:lnTo>
                    <a:pt x="1660" y="951"/>
                  </a:lnTo>
                  <a:lnTo>
                    <a:pt x="1657" y="960"/>
                  </a:lnTo>
                  <a:lnTo>
                    <a:pt x="1653" y="968"/>
                  </a:lnTo>
                  <a:lnTo>
                    <a:pt x="1647" y="978"/>
                  </a:lnTo>
                  <a:lnTo>
                    <a:pt x="1641" y="988"/>
                  </a:lnTo>
                  <a:lnTo>
                    <a:pt x="1633" y="998"/>
                  </a:lnTo>
                  <a:lnTo>
                    <a:pt x="1624" y="1009"/>
                  </a:lnTo>
                  <a:lnTo>
                    <a:pt x="1613" y="1019"/>
                  </a:lnTo>
                  <a:lnTo>
                    <a:pt x="1601" y="1029"/>
                  </a:lnTo>
                  <a:lnTo>
                    <a:pt x="1589" y="1038"/>
                  </a:lnTo>
                  <a:lnTo>
                    <a:pt x="1575" y="1048"/>
                  </a:lnTo>
                  <a:lnTo>
                    <a:pt x="1559" y="1055"/>
                  </a:lnTo>
                  <a:lnTo>
                    <a:pt x="1541" y="1062"/>
                  </a:lnTo>
                  <a:lnTo>
                    <a:pt x="1523" y="1068"/>
                  </a:lnTo>
                  <a:lnTo>
                    <a:pt x="1503" y="1072"/>
                  </a:lnTo>
                  <a:lnTo>
                    <a:pt x="1482" y="1075"/>
                  </a:lnTo>
                  <a:lnTo>
                    <a:pt x="1459" y="1076"/>
                  </a:lnTo>
                  <a:lnTo>
                    <a:pt x="1442" y="1075"/>
                  </a:lnTo>
                  <a:lnTo>
                    <a:pt x="1425" y="1074"/>
                  </a:lnTo>
                  <a:lnTo>
                    <a:pt x="1409" y="1071"/>
                  </a:lnTo>
                  <a:lnTo>
                    <a:pt x="1393" y="1068"/>
                  </a:lnTo>
                  <a:lnTo>
                    <a:pt x="1379" y="1064"/>
                  </a:lnTo>
                  <a:lnTo>
                    <a:pt x="1365" y="1058"/>
                  </a:lnTo>
                  <a:lnTo>
                    <a:pt x="1351" y="1052"/>
                  </a:lnTo>
                  <a:lnTo>
                    <a:pt x="1338" y="1045"/>
                  </a:lnTo>
                  <a:lnTo>
                    <a:pt x="1327" y="1038"/>
                  </a:lnTo>
                  <a:lnTo>
                    <a:pt x="1316" y="1029"/>
                  </a:lnTo>
                  <a:lnTo>
                    <a:pt x="1305" y="1020"/>
                  </a:lnTo>
                  <a:lnTo>
                    <a:pt x="1296" y="1010"/>
                  </a:lnTo>
                  <a:lnTo>
                    <a:pt x="1286" y="999"/>
                  </a:lnTo>
                  <a:lnTo>
                    <a:pt x="1277" y="988"/>
                  </a:lnTo>
                  <a:lnTo>
                    <a:pt x="1269" y="976"/>
                  </a:lnTo>
                  <a:lnTo>
                    <a:pt x="1261" y="963"/>
                  </a:lnTo>
                  <a:lnTo>
                    <a:pt x="1254" y="950"/>
                  </a:lnTo>
                  <a:lnTo>
                    <a:pt x="1248" y="937"/>
                  </a:lnTo>
                  <a:lnTo>
                    <a:pt x="1242" y="924"/>
                  </a:lnTo>
                  <a:lnTo>
                    <a:pt x="1237" y="909"/>
                  </a:lnTo>
                  <a:lnTo>
                    <a:pt x="1231" y="894"/>
                  </a:lnTo>
                  <a:lnTo>
                    <a:pt x="1227" y="879"/>
                  </a:lnTo>
                  <a:lnTo>
                    <a:pt x="1223" y="863"/>
                  </a:lnTo>
                  <a:lnTo>
                    <a:pt x="1220" y="847"/>
                  </a:lnTo>
                  <a:lnTo>
                    <a:pt x="1214" y="814"/>
                  </a:lnTo>
                  <a:lnTo>
                    <a:pt x="1210" y="780"/>
                  </a:lnTo>
                  <a:lnTo>
                    <a:pt x="1208" y="746"/>
                  </a:lnTo>
                  <a:lnTo>
                    <a:pt x="1207" y="711"/>
                  </a:lnTo>
                  <a:lnTo>
                    <a:pt x="1208" y="673"/>
                  </a:lnTo>
                  <a:lnTo>
                    <a:pt x="1211" y="635"/>
                  </a:lnTo>
                  <a:lnTo>
                    <a:pt x="1215" y="599"/>
                  </a:lnTo>
                  <a:lnTo>
                    <a:pt x="1222" y="564"/>
                  </a:lnTo>
                  <a:lnTo>
                    <a:pt x="1226" y="546"/>
                  </a:lnTo>
                  <a:lnTo>
                    <a:pt x="1230" y="530"/>
                  </a:lnTo>
                  <a:lnTo>
                    <a:pt x="1236" y="514"/>
                  </a:lnTo>
                  <a:lnTo>
                    <a:pt x="1241" y="498"/>
                  </a:lnTo>
                  <a:lnTo>
                    <a:pt x="1246" y="483"/>
                  </a:lnTo>
                  <a:lnTo>
                    <a:pt x="1254" y="470"/>
                  </a:lnTo>
                  <a:lnTo>
                    <a:pt x="1260" y="456"/>
                  </a:lnTo>
                  <a:lnTo>
                    <a:pt x="1268" y="442"/>
                  </a:lnTo>
                  <a:lnTo>
                    <a:pt x="1276" y="429"/>
                  </a:lnTo>
                  <a:lnTo>
                    <a:pt x="1285" y="417"/>
                  </a:lnTo>
                  <a:lnTo>
                    <a:pt x="1295" y="405"/>
                  </a:lnTo>
                  <a:lnTo>
                    <a:pt x="1304" y="395"/>
                  </a:lnTo>
                  <a:lnTo>
                    <a:pt x="1315" y="385"/>
                  </a:lnTo>
                  <a:lnTo>
                    <a:pt x="1326" y="375"/>
                  </a:lnTo>
                  <a:lnTo>
                    <a:pt x="1337" y="367"/>
                  </a:lnTo>
                  <a:lnTo>
                    <a:pt x="1349" y="359"/>
                  </a:lnTo>
                  <a:lnTo>
                    <a:pt x="1362" y="352"/>
                  </a:lnTo>
                  <a:lnTo>
                    <a:pt x="1375" y="346"/>
                  </a:lnTo>
                  <a:lnTo>
                    <a:pt x="1390" y="341"/>
                  </a:lnTo>
                  <a:lnTo>
                    <a:pt x="1404" y="336"/>
                  </a:lnTo>
                  <a:lnTo>
                    <a:pt x="1419" y="333"/>
                  </a:lnTo>
                  <a:lnTo>
                    <a:pt x="1435" y="331"/>
                  </a:lnTo>
                  <a:lnTo>
                    <a:pt x="1452" y="330"/>
                  </a:lnTo>
                  <a:lnTo>
                    <a:pt x="1469" y="328"/>
                  </a:lnTo>
                  <a:lnTo>
                    <a:pt x="1489" y="330"/>
                  </a:lnTo>
                  <a:lnTo>
                    <a:pt x="1509" y="332"/>
                  </a:lnTo>
                  <a:lnTo>
                    <a:pt x="1528" y="336"/>
                  </a:lnTo>
                  <a:lnTo>
                    <a:pt x="1546" y="341"/>
                  </a:lnTo>
                  <a:lnTo>
                    <a:pt x="1562" y="348"/>
                  </a:lnTo>
                  <a:lnTo>
                    <a:pt x="1577" y="356"/>
                  </a:lnTo>
                  <a:lnTo>
                    <a:pt x="1590" y="364"/>
                  </a:lnTo>
                  <a:lnTo>
                    <a:pt x="1602" y="373"/>
                  </a:lnTo>
                  <a:lnTo>
                    <a:pt x="1614" y="383"/>
                  </a:lnTo>
                  <a:lnTo>
                    <a:pt x="1624" y="393"/>
                  </a:lnTo>
                  <a:lnTo>
                    <a:pt x="1632" y="402"/>
                  </a:lnTo>
                  <a:lnTo>
                    <a:pt x="1640" y="412"/>
                  </a:lnTo>
                  <a:lnTo>
                    <a:pt x="1647" y="421"/>
                  </a:lnTo>
                  <a:lnTo>
                    <a:pt x="1653" y="431"/>
                  </a:lnTo>
                  <a:lnTo>
                    <a:pt x="1657" y="440"/>
                  </a:lnTo>
                  <a:lnTo>
                    <a:pt x="1660" y="447"/>
                  </a:lnTo>
                  <a:lnTo>
                    <a:pt x="1663" y="447"/>
                  </a:lnTo>
                  <a:lnTo>
                    <a:pt x="1663" y="346"/>
                  </a:lnTo>
                  <a:lnTo>
                    <a:pt x="1801" y="346"/>
                  </a:lnTo>
                  <a:lnTo>
                    <a:pt x="1801" y="1105"/>
                  </a:lnTo>
                  <a:close/>
                  <a:moveTo>
                    <a:pt x="920" y="346"/>
                  </a:moveTo>
                  <a:lnTo>
                    <a:pt x="1058" y="346"/>
                  </a:lnTo>
                  <a:lnTo>
                    <a:pt x="1058" y="1076"/>
                  </a:lnTo>
                  <a:lnTo>
                    <a:pt x="920" y="1076"/>
                  </a:lnTo>
                  <a:lnTo>
                    <a:pt x="920" y="346"/>
                  </a:lnTo>
                  <a:close/>
                  <a:moveTo>
                    <a:pt x="907" y="17"/>
                  </a:moveTo>
                  <a:lnTo>
                    <a:pt x="1072" y="17"/>
                  </a:lnTo>
                  <a:lnTo>
                    <a:pt x="1072" y="174"/>
                  </a:lnTo>
                  <a:lnTo>
                    <a:pt x="907" y="174"/>
                  </a:lnTo>
                  <a:lnTo>
                    <a:pt x="907" y="17"/>
                  </a:lnTo>
                  <a:close/>
                  <a:moveTo>
                    <a:pt x="0" y="17"/>
                  </a:moveTo>
                  <a:lnTo>
                    <a:pt x="154" y="17"/>
                  </a:lnTo>
                  <a:lnTo>
                    <a:pt x="154" y="464"/>
                  </a:lnTo>
                  <a:lnTo>
                    <a:pt x="570" y="464"/>
                  </a:lnTo>
                  <a:lnTo>
                    <a:pt x="570" y="17"/>
                  </a:lnTo>
                  <a:lnTo>
                    <a:pt x="724" y="17"/>
                  </a:lnTo>
                  <a:lnTo>
                    <a:pt x="724" y="1076"/>
                  </a:lnTo>
                  <a:lnTo>
                    <a:pt x="570" y="1076"/>
                  </a:lnTo>
                  <a:lnTo>
                    <a:pt x="570" y="586"/>
                  </a:lnTo>
                  <a:lnTo>
                    <a:pt x="154" y="586"/>
                  </a:lnTo>
                  <a:lnTo>
                    <a:pt x="154" y="1076"/>
                  </a:lnTo>
                  <a:lnTo>
                    <a:pt x="0" y="1076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cxnSp>
        <p:nvCxnSpPr>
          <p:cNvPr id="30" name="Straight Connector 9"/>
          <p:cNvCxnSpPr>
            <a:cxnSpLocks noChangeShapeType="1"/>
          </p:cNvCxnSpPr>
          <p:nvPr userDrawn="1"/>
        </p:nvCxnSpPr>
        <p:spPr bwMode="auto">
          <a:xfrm>
            <a:off x="468313" y="1112935"/>
            <a:ext cx="8675689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</p:cxnSp>
      <p:sp>
        <p:nvSpPr>
          <p:cNvPr id="42" name="Freeform 5"/>
          <p:cNvSpPr>
            <a:spLocks noEditPoints="1"/>
          </p:cNvSpPr>
          <p:nvPr userDrawn="1"/>
        </p:nvSpPr>
        <p:spPr bwMode="auto">
          <a:xfrm>
            <a:off x="6157912" y="854990"/>
            <a:ext cx="2547938" cy="173038"/>
          </a:xfrm>
          <a:custGeom>
            <a:avLst/>
            <a:gdLst/>
            <a:ahLst/>
            <a:cxnLst>
              <a:cxn ang="0">
                <a:pos x="15768" y="292"/>
              </a:cxn>
              <a:cxn ang="0">
                <a:pos x="15956" y="762"/>
              </a:cxn>
              <a:cxn ang="0">
                <a:pos x="15953" y="437"/>
              </a:cxn>
              <a:cxn ang="0">
                <a:pos x="15759" y="412"/>
              </a:cxn>
              <a:cxn ang="0">
                <a:pos x="15208" y="574"/>
              </a:cxn>
              <a:cxn ang="0">
                <a:pos x="14741" y="364"/>
              </a:cxn>
              <a:cxn ang="0">
                <a:pos x="14454" y="790"/>
              </a:cxn>
              <a:cxn ang="0">
                <a:pos x="14446" y="502"/>
              </a:cxn>
              <a:cxn ang="0">
                <a:pos x="14249" y="372"/>
              </a:cxn>
              <a:cxn ang="0">
                <a:pos x="13636" y="766"/>
              </a:cxn>
              <a:cxn ang="0">
                <a:pos x="13796" y="832"/>
              </a:cxn>
              <a:cxn ang="0">
                <a:pos x="13096" y="284"/>
              </a:cxn>
              <a:cxn ang="0">
                <a:pos x="13193" y="358"/>
              </a:cxn>
              <a:cxn ang="0">
                <a:pos x="13013" y="632"/>
              </a:cxn>
              <a:cxn ang="0">
                <a:pos x="12819" y="594"/>
              </a:cxn>
              <a:cxn ang="0">
                <a:pos x="12548" y="321"/>
              </a:cxn>
              <a:cxn ang="0">
                <a:pos x="12604" y="777"/>
              </a:cxn>
              <a:cxn ang="0">
                <a:pos x="12338" y="770"/>
              </a:cxn>
              <a:cxn ang="0">
                <a:pos x="11700" y="659"/>
              </a:cxn>
              <a:cxn ang="0">
                <a:pos x="11442" y="768"/>
              </a:cxn>
              <a:cxn ang="0">
                <a:pos x="11085" y="399"/>
              </a:cxn>
              <a:cxn ang="0">
                <a:pos x="11408" y="562"/>
              </a:cxn>
              <a:cxn ang="0">
                <a:pos x="11194" y="378"/>
              </a:cxn>
              <a:cxn ang="0">
                <a:pos x="9569" y="833"/>
              </a:cxn>
              <a:cxn ang="0">
                <a:pos x="9224" y="779"/>
              </a:cxn>
              <a:cxn ang="0">
                <a:pos x="9226" y="985"/>
              </a:cxn>
              <a:cxn ang="0">
                <a:pos x="9345" y="765"/>
              </a:cxn>
              <a:cxn ang="0">
                <a:pos x="9031" y="748"/>
              </a:cxn>
              <a:cxn ang="0">
                <a:pos x="8648" y="434"/>
              </a:cxn>
              <a:cxn ang="0">
                <a:pos x="8983" y="596"/>
              </a:cxn>
              <a:cxn ang="0">
                <a:pos x="8782" y="367"/>
              </a:cxn>
              <a:cxn ang="0">
                <a:pos x="8179" y="317"/>
              </a:cxn>
              <a:cxn ang="0">
                <a:pos x="7972" y="831"/>
              </a:cxn>
              <a:cxn ang="0">
                <a:pos x="8008" y="770"/>
              </a:cxn>
              <a:cxn ang="0">
                <a:pos x="7598" y="284"/>
              </a:cxn>
              <a:cxn ang="0">
                <a:pos x="7611" y="397"/>
              </a:cxn>
              <a:cxn ang="0">
                <a:pos x="6857" y="492"/>
              </a:cxn>
              <a:cxn ang="0">
                <a:pos x="6426" y="284"/>
              </a:cxn>
              <a:cxn ang="0">
                <a:pos x="6510" y="844"/>
              </a:cxn>
              <a:cxn ang="0">
                <a:pos x="6405" y="363"/>
              </a:cxn>
              <a:cxn ang="0">
                <a:pos x="5903" y="289"/>
              </a:cxn>
              <a:cxn ang="0">
                <a:pos x="6131" y="833"/>
              </a:cxn>
              <a:cxn ang="0">
                <a:pos x="5884" y="381"/>
              </a:cxn>
              <a:cxn ang="0">
                <a:pos x="5552" y="735"/>
              </a:cxn>
              <a:cxn ang="0">
                <a:pos x="4225" y="296"/>
              </a:cxn>
              <a:cxn ang="0">
                <a:pos x="4180" y="830"/>
              </a:cxn>
              <a:cxn ang="0">
                <a:pos x="4207" y="351"/>
              </a:cxn>
              <a:cxn ang="0">
                <a:pos x="4071" y="661"/>
              </a:cxn>
              <a:cxn ang="0">
                <a:pos x="3553" y="374"/>
              </a:cxn>
              <a:cxn ang="0">
                <a:pos x="3201" y="832"/>
              </a:cxn>
              <a:cxn ang="0">
                <a:pos x="2942" y="689"/>
              </a:cxn>
              <a:cxn ang="0">
                <a:pos x="2005" y="677"/>
              </a:cxn>
              <a:cxn ang="0">
                <a:pos x="1900" y="692"/>
              </a:cxn>
              <a:cxn ang="0">
                <a:pos x="1722" y="281"/>
              </a:cxn>
              <a:cxn ang="0">
                <a:pos x="1780" y="762"/>
              </a:cxn>
              <a:cxn ang="0">
                <a:pos x="1136" y="388"/>
              </a:cxn>
              <a:cxn ang="0">
                <a:pos x="775" y="831"/>
              </a:cxn>
              <a:cxn ang="0">
                <a:pos x="567" y="317"/>
              </a:cxn>
              <a:cxn ang="0">
                <a:pos x="793" y="405"/>
              </a:cxn>
              <a:cxn ang="0">
                <a:pos x="563" y="510"/>
              </a:cxn>
              <a:cxn ang="0">
                <a:pos x="31" y="389"/>
              </a:cxn>
              <a:cxn ang="0">
                <a:pos x="275" y="778"/>
              </a:cxn>
              <a:cxn ang="0">
                <a:pos x="291" y="378"/>
              </a:cxn>
            </a:cxnLst>
            <a:rect l="0" t="0" r="r" b="b"/>
            <a:pathLst>
              <a:path w="16050" h="1090">
                <a:moveTo>
                  <a:pt x="15820" y="1067"/>
                </a:moveTo>
                <a:lnTo>
                  <a:pt x="15835" y="1067"/>
                </a:lnTo>
                <a:lnTo>
                  <a:pt x="15849" y="1066"/>
                </a:lnTo>
                <a:lnTo>
                  <a:pt x="15862" y="1065"/>
                </a:lnTo>
                <a:lnTo>
                  <a:pt x="15875" y="1063"/>
                </a:lnTo>
                <a:lnTo>
                  <a:pt x="15887" y="1061"/>
                </a:lnTo>
                <a:lnTo>
                  <a:pt x="15900" y="1059"/>
                </a:lnTo>
                <a:lnTo>
                  <a:pt x="15912" y="1056"/>
                </a:lnTo>
                <a:lnTo>
                  <a:pt x="15923" y="1052"/>
                </a:lnTo>
                <a:lnTo>
                  <a:pt x="15933" y="1048"/>
                </a:lnTo>
                <a:lnTo>
                  <a:pt x="15943" y="1044"/>
                </a:lnTo>
                <a:lnTo>
                  <a:pt x="15953" y="1039"/>
                </a:lnTo>
                <a:lnTo>
                  <a:pt x="15962" y="1033"/>
                </a:lnTo>
                <a:lnTo>
                  <a:pt x="15971" y="1028"/>
                </a:lnTo>
                <a:lnTo>
                  <a:pt x="15979" y="1021"/>
                </a:lnTo>
                <a:lnTo>
                  <a:pt x="15987" y="1015"/>
                </a:lnTo>
                <a:lnTo>
                  <a:pt x="15994" y="1007"/>
                </a:lnTo>
                <a:lnTo>
                  <a:pt x="16001" y="1000"/>
                </a:lnTo>
                <a:lnTo>
                  <a:pt x="16007" y="992"/>
                </a:lnTo>
                <a:lnTo>
                  <a:pt x="16013" y="983"/>
                </a:lnTo>
                <a:lnTo>
                  <a:pt x="16019" y="974"/>
                </a:lnTo>
                <a:lnTo>
                  <a:pt x="16024" y="965"/>
                </a:lnTo>
                <a:lnTo>
                  <a:pt x="16028" y="955"/>
                </a:lnTo>
                <a:lnTo>
                  <a:pt x="16032" y="945"/>
                </a:lnTo>
                <a:lnTo>
                  <a:pt x="16036" y="934"/>
                </a:lnTo>
                <a:lnTo>
                  <a:pt x="16039" y="923"/>
                </a:lnTo>
                <a:lnTo>
                  <a:pt x="16042" y="911"/>
                </a:lnTo>
                <a:lnTo>
                  <a:pt x="16045" y="899"/>
                </a:lnTo>
                <a:lnTo>
                  <a:pt x="16047" y="887"/>
                </a:lnTo>
                <a:lnTo>
                  <a:pt x="16049" y="861"/>
                </a:lnTo>
                <a:lnTo>
                  <a:pt x="16050" y="833"/>
                </a:lnTo>
                <a:lnTo>
                  <a:pt x="16050" y="293"/>
                </a:lnTo>
                <a:lnTo>
                  <a:pt x="15973" y="293"/>
                </a:lnTo>
                <a:lnTo>
                  <a:pt x="15973" y="381"/>
                </a:lnTo>
                <a:lnTo>
                  <a:pt x="15971" y="381"/>
                </a:lnTo>
                <a:lnTo>
                  <a:pt x="15967" y="370"/>
                </a:lnTo>
                <a:lnTo>
                  <a:pt x="15962" y="359"/>
                </a:lnTo>
                <a:lnTo>
                  <a:pt x="15957" y="348"/>
                </a:lnTo>
                <a:lnTo>
                  <a:pt x="15951" y="339"/>
                </a:lnTo>
                <a:lnTo>
                  <a:pt x="15943" y="330"/>
                </a:lnTo>
                <a:lnTo>
                  <a:pt x="15936" y="322"/>
                </a:lnTo>
                <a:lnTo>
                  <a:pt x="15927" y="314"/>
                </a:lnTo>
                <a:lnTo>
                  <a:pt x="15918" y="307"/>
                </a:lnTo>
                <a:lnTo>
                  <a:pt x="15908" y="301"/>
                </a:lnTo>
                <a:lnTo>
                  <a:pt x="15898" y="296"/>
                </a:lnTo>
                <a:lnTo>
                  <a:pt x="15887" y="291"/>
                </a:lnTo>
                <a:lnTo>
                  <a:pt x="15876" y="287"/>
                </a:lnTo>
                <a:lnTo>
                  <a:pt x="15865" y="284"/>
                </a:lnTo>
                <a:lnTo>
                  <a:pt x="15853" y="282"/>
                </a:lnTo>
                <a:lnTo>
                  <a:pt x="15841" y="281"/>
                </a:lnTo>
                <a:lnTo>
                  <a:pt x="15830" y="281"/>
                </a:lnTo>
                <a:lnTo>
                  <a:pt x="15816" y="281"/>
                </a:lnTo>
                <a:lnTo>
                  <a:pt x="15803" y="282"/>
                </a:lnTo>
                <a:lnTo>
                  <a:pt x="15791" y="285"/>
                </a:lnTo>
                <a:lnTo>
                  <a:pt x="15779" y="288"/>
                </a:lnTo>
                <a:lnTo>
                  <a:pt x="15768" y="292"/>
                </a:lnTo>
                <a:lnTo>
                  <a:pt x="15758" y="297"/>
                </a:lnTo>
                <a:lnTo>
                  <a:pt x="15748" y="302"/>
                </a:lnTo>
                <a:lnTo>
                  <a:pt x="15739" y="309"/>
                </a:lnTo>
                <a:lnTo>
                  <a:pt x="15730" y="316"/>
                </a:lnTo>
                <a:lnTo>
                  <a:pt x="15722" y="323"/>
                </a:lnTo>
                <a:lnTo>
                  <a:pt x="15714" y="331"/>
                </a:lnTo>
                <a:lnTo>
                  <a:pt x="15707" y="340"/>
                </a:lnTo>
                <a:lnTo>
                  <a:pt x="15700" y="349"/>
                </a:lnTo>
                <a:lnTo>
                  <a:pt x="15694" y="359"/>
                </a:lnTo>
                <a:lnTo>
                  <a:pt x="15688" y="369"/>
                </a:lnTo>
                <a:lnTo>
                  <a:pt x="15682" y="379"/>
                </a:lnTo>
                <a:lnTo>
                  <a:pt x="15673" y="401"/>
                </a:lnTo>
                <a:lnTo>
                  <a:pt x="15665" y="424"/>
                </a:lnTo>
                <a:lnTo>
                  <a:pt x="15658" y="448"/>
                </a:lnTo>
                <a:lnTo>
                  <a:pt x="15653" y="472"/>
                </a:lnTo>
                <a:lnTo>
                  <a:pt x="15650" y="496"/>
                </a:lnTo>
                <a:lnTo>
                  <a:pt x="15647" y="520"/>
                </a:lnTo>
                <a:lnTo>
                  <a:pt x="15646" y="543"/>
                </a:lnTo>
                <a:lnTo>
                  <a:pt x="15645" y="565"/>
                </a:lnTo>
                <a:lnTo>
                  <a:pt x="15646" y="588"/>
                </a:lnTo>
                <a:lnTo>
                  <a:pt x="15647" y="612"/>
                </a:lnTo>
                <a:lnTo>
                  <a:pt x="15649" y="635"/>
                </a:lnTo>
                <a:lnTo>
                  <a:pt x="15653" y="658"/>
                </a:lnTo>
                <a:lnTo>
                  <a:pt x="15658" y="681"/>
                </a:lnTo>
                <a:lnTo>
                  <a:pt x="15664" y="703"/>
                </a:lnTo>
                <a:lnTo>
                  <a:pt x="15671" y="724"/>
                </a:lnTo>
                <a:lnTo>
                  <a:pt x="15681" y="744"/>
                </a:lnTo>
                <a:lnTo>
                  <a:pt x="15686" y="753"/>
                </a:lnTo>
                <a:lnTo>
                  <a:pt x="15692" y="762"/>
                </a:lnTo>
                <a:lnTo>
                  <a:pt x="15698" y="771"/>
                </a:lnTo>
                <a:lnTo>
                  <a:pt x="15705" y="779"/>
                </a:lnTo>
                <a:lnTo>
                  <a:pt x="15712" y="787"/>
                </a:lnTo>
                <a:lnTo>
                  <a:pt x="15719" y="794"/>
                </a:lnTo>
                <a:lnTo>
                  <a:pt x="15728" y="800"/>
                </a:lnTo>
                <a:lnTo>
                  <a:pt x="15736" y="807"/>
                </a:lnTo>
                <a:lnTo>
                  <a:pt x="15746" y="812"/>
                </a:lnTo>
                <a:lnTo>
                  <a:pt x="15755" y="818"/>
                </a:lnTo>
                <a:lnTo>
                  <a:pt x="15766" y="822"/>
                </a:lnTo>
                <a:lnTo>
                  <a:pt x="15777" y="826"/>
                </a:lnTo>
                <a:lnTo>
                  <a:pt x="15789" y="828"/>
                </a:lnTo>
                <a:lnTo>
                  <a:pt x="15801" y="830"/>
                </a:lnTo>
                <a:lnTo>
                  <a:pt x="15814" y="832"/>
                </a:lnTo>
                <a:lnTo>
                  <a:pt x="15827" y="832"/>
                </a:lnTo>
                <a:lnTo>
                  <a:pt x="15840" y="832"/>
                </a:lnTo>
                <a:lnTo>
                  <a:pt x="15852" y="830"/>
                </a:lnTo>
                <a:lnTo>
                  <a:pt x="15863" y="828"/>
                </a:lnTo>
                <a:lnTo>
                  <a:pt x="15875" y="825"/>
                </a:lnTo>
                <a:lnTo>
                  <a:pt x="15886" y="821"/>
                </a:lnTo>
                <a:lnTo>
                  <a:pt x="15897" y="816"/>
                </a:lnTo>
                <a:lnTo>
                  <a:pt x="15907" y="810"/>
                </a:lnTo>
                <a:lnTo>
                  <a:pt x="15917" y="804"/>
                </a:lnTo>
                <a:lnTo>
                  <a:pt x="15926" y="797"/>
                </a:lnTo>
                <a:lnTo>
                  <a:pt x="15934" y="789"/>
                </a:lnTo>
                <a:lnTo>
                  <a:pt x="15942" y="781"/>
                </a:lnTo>
                <a:lnTo>
                  <a:pt x="15949" y="771"/>
                </a:lnTo>
                <a:lnTo>
                  <a:pt x="15956" y="762"/>
                </a:lnTo>
                <a:lnTo>
                  <a:pt x="15962" y="751"/>
                </a:lnTo>
                <a:lnTo>
                  <a:pt x="15967" y="740"/>
                </a:lnTo>
                <a:lnTo>
                  <a:pt x="15971" y="728"/>
                </a:lnTo>
                <a:lnTo>
                  <a:pt x="15973" y="728"/>
                </a:lnTo>
                <a:lnTo>
                  <a:pt x="15973" y="824"/>
                </a:lnTo>
                <a:lnTo>
                  <a:pt x="15973" y="845"/>
                </a:lnTo>
                <a:lnTo>
                  <a:pt x="15971" y="865"/>
                </a:lnTo>
                <a:lnTo>
                  <a:pt x="15969" y="883"/>
                </a:lnTo>
                <a:lnTo>
                  <a:pt x="15965" y="901"/>
                </a:lnTo>
                <a:lnTo>
                  <a:pt x="15960" y="917"/>
                </a:lnTo>
                <a:lnTo>
                  <a:pt x="15954" y="931"/>
                </a:lnTo>
                <a:lnTo>
                  <a:pt x="15947" y="945"/>
                </a:lnTo>
                <a:lnTo>
                  <a:pt x="15938" y="957"/>
                </a:lnTo>
                <a:lnTo>
                  <a:pt x="15933" y="962"/>
                </a:lnTo>
                <a:lnTo>
                  <a:pt x="15928" y="967"/>
                </a:lnTo>
                <a:lnTo>
                  <a:pt x="15922" y="972"/>
                </a:lnTo>
                <a:lnTo>
                  <a:pt x="15916" y="977"/>
                </a:lnTo>
                <a:lnTo>
                  <a:pt x="15910" y="981"/>
                </a:lnTo>
                <a:lnTo>
                  <a:pt x="15903" y="985"/>
                </a:lnTo>
                <a:lnTo>
                  <a:pt x="15896" y="988"/>
                </a:lnTo>
                <a:lnTo>
                  <a:pt x="15887" y="991"/>
                </a:lnTo>
                <a:lnTo>
                  <a:pt x="15870" y="996"/>
                </a:lnTo>
                <a:lnTo>
                  <a:pt x="15852" y="1000"/>
                </a:lnTo>
                <a:lnTo>
                  <a:pt x="15832" y="1002"/>
                </a:lnTo>
                <a:lnTo>
                  <a:pt x="15809" y="1003"/>
                </a:lnTo>
                <a:lnTo>
                  <a:pt x="15792" y="1002"/>
                </a:lnTo>
                <a:lnTo>
                  <a:pt x="15774" y="1001"/>
                </a:lnTo>
                <a:lnTo>
                  <a:pt x="15757" y="998"/>
                </a:lnTo>
                <a:lnTo>
                  <a:pt x="15740" y="995"/>
                </a:lnTo>
                <a:lnTo>
                  <a:pt x="15724" y="990"/>
                </a:lnTo>
                <a:lnTo>
                  <a:pt x="15707" y="985"/>
                </a:lnTo>
                <a:lnTo>
                  <a:pt x="15691" y="978"/>
                </a:lnTo>
                <a:lnTo>
                  <a:pt x="15675" y="971"/>
                </a:lnTo>
                <a:lnTo>
                  <a:pt x="15675" y="1049"/>
                </a:lnTo>
                <a:lnTo>
                  <a:pt x="15711" y="1056"/>
                </a:lnTo>
                <a:lnTo>
                  <a:pt x="15747" y="1062"/>
                </a:lnTo>
                <a:lnTo>
                  <a:pt x="15765" y="1064"/>
                </a:lnTo>
                <a:lnTo>
                  <a:pt x="15783" y="1066"/>
                </a:lnTo>
                <a:lnTo>
                  <a:pt x="15801" y="1067"/>
                </a:lnTo>
                <a:lnTo>
                  <a:pt x="15820" y="1067"/>
                </a:lnTo>
                <a:close/>
                <a:moveTo>
                  <a:pt x="15845" y="345"/>
                </a:moveTo>
                <a:lnTo>
                  <a:pt x="15854" y="345"/>
                </a:lnTo>
                <a:lnTo>
                  <a:pt x="15863" y="346"/>
                </a:lnTo>
                <a:lnTo>
                  <a:pt x="15871" y="348"/>
                </a:lnTo>
                <a:lnTo>
                  <a:pt x="15878" y="351"/>
                </a:lnTo>
                <a:lnTo>
                  <a:pt x="15886" y="354"/>
                </a:lnTo>
                <a:lnTo>
                  <a:pt x="15894" y="358"/>
                </a:lnTo>
                <a:lnTo>
                  <a:pt x="15900" y="362"/>
                </a:lnTo>
                <a:lnTo>
                  <a:pt x="15907" y="367"/>
                </a:lnTo>
                <a:lnTo>
                  <a:pt x="15913" y="372"/>
                </a:lnTo>
                <a:lnTo>
                  <a:pt x="15918" y="378"/>
                </a:lnTo>
                <a:lnTo>
                  <a:pt x="15924" y="384"/>
                </a:lnTo>
                <a:lnTo>
                  <a:pt x="15929" y="391"/>
                </a:lnTo>
                <a:lnTo>
                  <a:pt x="15938" y="405"/>
                </a:lnTo>
                <a:lnTo>
                  <a:pt x="15946" y="420"/>
                </a:lnTo>
                <a:lnTo>
                  <a:pt x="15953" y="437"/>
                </a:lnTo>
                <a:lnTo>
                  <a:pt x="15958" y="454"/>
                </a:lnTo>
                <a:lnTo>
                  <a:pt x="15963" y="471"/>
                </a:lnTo>
                <a:lnTo>
                  <a:pt x="15967" y="488"/>
                </a:lnTo>
                <a:lnTo>
                  <a:pt x="15970" y="505"/>
                </a:lnTo>
                <a:lnTo>
                  <a:pt x="15972" y="522"/>
                </a:lnTo>
                <a:lnTo>
                  <a:pt x="15973" y="537"/>
                </a:lnTo>
                <a:lnTo>
                  <a:pt x="15973" y="552"/>
                </a:lnTo>
                <a:lnTo>
                  <a:pt x="15973" y="567"/>
                </a:lnTo>
                <a:lnTo>
                  <a:pt x="15972" y="583"/>
                </a:lnTo>
                <a:lnTo>
                  <a:pt x="15970" y="600"/>
                </a:lnTo>
                <a:lnTo>
                  <a:pt x="15967" y="618"/>
                </a:lnTo>
                <a:lnTo>
                  <a:pt x="15963" y="636"/>
                </a:lnTo>
                <a:lnTo>
                  <a:pt x="15958" y="654"/>
                </a:lnTo>
                <a:lnTo>
                  <a:pt x="15952" y="671"/>
                </a:lnTo>
                <a:lnTo>
                  <a:pt x="15946" y="688"/>
                </a:lnTo>
                <a:lnTo>
                  <a:pt x="15937" y="704"/>
                </a:lnTo>
                <a:lnTo>
                  <a:pt x="15928" y="719"/>
                </a:lnTo>
                <a:lnTo>
                  <a:pt x="15923" y="726"/>
                </a:lnTo>
                <a:lnTo>
                  <a:pt x="15918" y="732"/>
                </a:lnTo>
                <a:lnTo>
                  <a:pt x="15912" y="738"/>
                </a:lnTo>
                <a:lnTo>
                  <a:pt x="15906" y="744"/>
                </a:lnTo>
                <a:lnTo>
                  <a:pt x="15899" y="749"/>
                </a:lnTo>
                <a:lnTo>
                  <a:pt x="15893" y="753"/>
                </a:lnTo>
                <a:lnTo>
                  <a:pt x="15884" y="757"/>
                </a:lnTo>
                <a:lnTo>
                  <a:pt x="15877" y="761"/>
                </a:lnTo>
                <a:lnTo>
                  <a:pt x="15869" y="763"/>
                </a:lnTo>
                <a:lnTo>
                  <a:pt x="15861" y="765"/>
                </a:lnTo>
                <a:lnTo>
                  <a:pt x="15852" y="766"/>
                </a:lnTo>
                <a:lnTo>
                  <a:pt x="15843" y="767"/>
                </a:lnTo>
                <a:lnTo>
                  <a:pt x="15834" y="766"/>
                </a:lnTo>
                <a:lnTo>
                  <a:pt x="15826" y="765"/>
                </a:lnTo>
                <a:lnTo>
                  <a:pt x="15818" y="763"/>
                </a:lnTo>
                <a:lnTo>
                  <a:pt x="15811" y="761"/>
                </a:lnTo>
                <a:lnTo>
                  <a:pt x="15804" y="758"/>
                </a:lnTo>
                <a:lnTo>
                  <a:pt x="15797" y="754"/>
                </a:lnTo>
                <a:lnTo>
                  <a:pt x="15791" y="750"/>
                </a:lnTo>
                <a:lnTo>
                  <a:pt x="15785" y="745"/>
                </a:lnTo>
                <a:lnTo>
                  <a:pt x="15780" y="740"/>
                </a:lnTo>
                <a:lnTo>
                  <a:pt x="15775" y="735"/>
                </a:lnTo>
                <a:lnTo>
                  <a:pt x="15770" y="729"/>
                </a:lnTo>
                <a:lnTo>
                  <a:pt x="15766" y="722"/>
                </a:lnTo>
                <a:lnTo>
                  <a:pt x="15759" y="708"/>
                </a:lnTo>
                <a:lnTo>
                  <a:pt x="15752" y="693"/>
                </a:lnTo>
                <a:lnTo>
                  <a:pt x="15747" y="677"/>
                </a:lnTo>
                <a:lnTo>
                  <a:pt x="15743" y="661"/>
                </a:lnTo>
                <a:lnTo>
                  <a:pt x="15739" y="645"/>
                </a:lnTo>
                <a:lnTo>
                  <a:pt x="15737" y="628"/>
                </a:lnTo>
                <a:lnTo>
                  <a:pt x="15734" y="596"/>
                </a:lnTo>
                <a:lnTo>
                  <a:pt x="15733" y="567"/>
                </a:lnTo>
                <a:lnTo>
                  <a:pt x="15734" y="537"/>
                </a:lnTo>
                <a:lnTo>
                  <a:pt x="15737" y="502"/>
                </a:lnTo>
                <a:lnTo>
                  <a:pt x="15740" y="484"/>
                </a:lnTo>
                <a:lnTo>
                  <a:pt x="15743" y="466"/>
                </a:lnTo>
                <a:lnTo>
                  <a:pt x="15747" y="447"/>
                </a:lnTo>
                <a:lnTo>
                  <a:pt x="15753" y="429"/>
                </a:lnTo>
                <a:lnTo>
                  <a:pt x="15759" y="412"/>
                </a:lnTo>
                <a:lnTo>
                  <a:pt x="15767" y="397"/>
                </a:lnTo>
                <a:lnTo>
                  <a:pt x="15771" y="389"/>
                </a:lnTo>
                <a:lnTo>
                  <a:pt x="15776" y="382"/>
                </a:lnTo>
                <a:lnTo>
                  <a:pt x="15781" y="376"/>
                </a:lnTo>
                <a:lnTo>
                  <a:pt x="15786" y="370"/>
                </a:lnTo>
                <a:lnTo>
                  <a:pt x="15792" y="364"/>
                </a:lnTo>
                <a:lnTo>
                  <a:pt x="15799" y="359"/>
                </a:lnTo>
                <a:lnTo>
                  <a:pt x="15805" y="355"/>
                </a:lnTo>
                <a:lnTo>
                  <a:pt x="15812" y="352"/>
                </a:lnTo>
                <a:lnTo>
                  <a:pt x="15820" y="349"/>
                </a:lnTo>
                <a:lnTo>
                  <a:pt x="15828" y="347"/>
                </a:lnTo>
                <a:lnTo>
                  <a:pt x="15836" y="345"/>
                </a:lnTo>
                <a:lnTo>
                  <a:pt x="15845" y="345"/>
                </a:lnTo>
                <a:close/>
                <a:moveTo>
                  <a:pt x="15438" y="832"/>
                </a:moveTo>
                <a:lnTo>
                  <a:pt x="15515" y="832"/>
                </a:lnTo>
                <a:lnTo>
                  <a:pt x="15515" y="447"/>
                </a:lnTo>
                <a:lnTo>
                  <a:pt x="15515" y="431"/>
                </a:lnTo>
                <a:lnTo>
                  <a:pt x="15513" y="415"/>
                </a:lnTo>
                <a:lnTo>
                  <a:pt x="15511" y="400"/>
                </a:lnTo>
                <a:lnTo>
                  <a:pt x="15507" y="385"/>
                </a:lnTo>
                <a:lnTo>
                  <a:pt x="15502" y="371"/>
                </a:lnTo>
                <a:lnTo>
                  <a:pt x="15497" y="357"/>
                </a:lnTo>
                <a:lnTo>
                  <a:pt x="15490" y="344"/>
                </a:lnTo>
                <a:lnTo>
                  <a:pt x="15482" y="332"/>
                </a:lnTo>
                <a:lnTo>
                  <a:pt x="15473" y="321"/>
                </a:lnTo>
                <a:lnTo>
                  <a:pt x="15463" y="311"/>
                </a:lnTo>
                <a:lnTo>
                  <a:pt x="15451" y="302"/>
                </a:lnTo>
                <a:lnTo>
                  <a:pt x="15439" y="295"/>
                </a:lnTo>
                <a:lnTo>
                  <a:pt x="15425" y="289"/>
                </a:lnTo>
                <a:lnTo>
                  <a:pt x="15410" y="284"/>
                </a:lnTo>
                <a:lnTo>
                  <a:pt x="15394" y="281"/>
                </a:lnTo>
                <a:lnTo>
                  <a:pt x="15377" y="281"/>
                </a:lnTo>
                <a:lnTo>
                  <a:pt x="15360" y="281"/>
                </a:lnTo>
                <a:lnTo>
                  <a:pt x="15344" y="283"/>
                </a:lnTo>
                <a:lnTo>
                  <a:pt x="15329" y="286"/>
                </a:lnTo>
                <a:lnTo>
                  <a:pt x="15315" y="290"/>
                </a:lnTo>
                <a:lnTo>
                  <a:pt x="15302" y="296"/>
                </a:lnTo>
                <a:lnTo>
                  <a:pt x="15290" y="302"/>
                </a:lnTo>
                <a:lnTo>
                  <a:pt x="15278" y="310"/>
                </a:lnTo>
                <a:lnTo>
                  <a:pt x="15268" y="318"/>
                </a:lnTo>
                <a:lnTo>
                  <a:pt x="15258" y="327"/>
                </a:lnTo>
                <a:lnTo>
                  <a:pt x="15249" y="338"/>
                </a:lnTo>
                <a:lnTo>
                  <a:pt x="15240" y="349"/>
                </a:lnTo>
                <a:lnTo>
                  <a:pt x="15232" y="361"/>
                </a:lnTo>
                <a:lnTo>
                  <a:pt x="15225" y="374"/>
                </a:lnTo>
                <a:lnTo>
                  <a:pt x="15219" y="388"/>
                </a:lnTo>
                <a:lnTo>
                  <a:pt x="15213" y="402"/>
                </a:lnTo>
                <a:lnTo>
                  <a:pt x="15208" y="417"/>
                </a:lnTo>
                <a:lnTo>
                  <a:pt x="15205" y="417"/>
                </a:lnTo>
                <a:lnTo>
                  <a:pt x="15205" y="293"/>
                </a:lnTo>
                <a:lnTo>
                  <a:pt x="15129" y="293"/>
                </a:lnTo>
                <a:lnTo>
                  <a:pt x="15129" y="832"/>
                </a:lnTo>
                <a:lnTo>
                  <a:pt x="15205" y="832"/>
                </a:lnTo>
                <a:lnTo>
                  <a:pt x="15205" y="609"/>
                </a:lnTo>
                <a:lnTo>
                  <a:pt x="15206" y="593"/>
                </a:lnTo>
                <a:lnTo>
                  <a:pt x="15208" y="574"/>
                </a:lnTo>
                <a:lnTo>
                  <a:pt x="15210" y="555"/>
                </a:lnTo>
                <a:lnTo>
                  <a:pt x="15214" y="534"/>
                </a:lnTo>
                <a:lnTo>
                  <a:pt x="15219" y="513"/>
                </a:lnTo>
                <a:lnTo>
                  <a:pt x="15225" y="492"/>
                </a:lnTo>
                <a:lnTo>
                  <a:pt x="15233" y="472"/>
                </a:lnTo>
                <a:lnTo>
                  <a:pt x="15241" y="452"/>
                </a:lnTo>
                <a:lnTo>
                  <a:pt x="15252" y="433"/>
                </a:lnTo>
                <a:lnTo>
                  <a:pt x="15264" y="415"/>
                </a:lnTo>
                <a:lnTo>
                  <a:pt x="15270" y="407"/>
                </a:lnTo>
                <a:lnTo>
                  <a:pt x="15276" y="399"/>
                </a:lnTo>
                <a:lnTo>
                  <a:pt x="15283" y="392"/>
                </a:lnTo>
                <a:lnTo>
                  <a:pt x="15290" y="385"/>
                </a:lnTo>
                <a:lnTo>
                  <a:pt x="15297" y="379"/>
                </a:lnTo>
                <a:lnTo>
                  <a:pt x="15305" y="373"/>
                </a:lnTo>
                <a:lnTo>
                  <a:pt x="15313" y="369"/>
                </a:lnTo>
                <a:lnTo>
                  <a:pt x="15322" y="365"/>
                </a:lnTo>
                <a:lnTo>
                  <a:pt x="15330" y="362"/>
                </a:lnTo>
                <a:lnTo>
                  <a:pt x="15340" y="359"/>
                </a:lnTo>
                <a:lnTo>
                  <a:pt x="15349" y="358"/>
                </a:lnTo>
                <a:lnTo>
                  <a:pt x="15359" y="357"/>
                </a:lnTo>
                <a:lnTo>
                  <a:pt x="15367" y="358"/>
                </a:lnTo>
                <a:lnTo>
                  <a:pt x="15374" y="359"/>
                </a:lnTo>
                <a:lnTo>
                  <a:pt x="15381" y="360"/>
                </a:lnTo>
                <a:lnTo>
                  <a:pt x="15388" y="362"/>
                </a:lnTo>
                <a:lnTo>
                  <a:pt x="15394" y="365"/>
                </a:lnTo>
                <a:lnTo>
                  <a:pt x="15399" y="368"/>
                </a:lnTo>
                <a:lnTo>
                  <a:pt x="15404" y="372"/>
                </a:lnTo>
                <a:lnTo>
                  <a:pt x="15409" y="376"/>
                </a:lnTo>
                <a:lnTo>
                  <a:pt x="15416" y="386"/>
                </a:lnTo>
                <a:lnTo>
                  <a:pt x="15423" y="397"/>
                </a:lnTo>
                <a:lnTo>
                  <a:pt x="15428" y="409"/>
                </a:lnTo>
                <a:lnTo>
                  <a:pt x="15432" y="422"/>
                </a:lnTo>
                <a:lnTo>
                  <a:pt x="15434" y="436"/>
                </a:lnTo>
                <a:lnTo>
                  <a:pt x="15436" y="450"/>
                </a:lnTo>
                <a:lnTo>
                  <a:pt x="15438" y="465"/>
                </a:lnTo>
                <a:lnTo>
                  <a:pt x="15438" y="479"/>
                </a:lnTo>
                <a:lnTo>
                  <a:pt x="15438" y="508"/>
                </a:lnTo>
                <a:lnTo>
                  <a:pt x="15438" y="533"/>
                </a:lnTo>
                <a:lnTo>
                  <a:pt x="15438" y="832"/>
                </a:lnTo>
                <a:close/>
                <a:moveTo>
                  <a:pt x="14861" y="152"/>
                </a:moveTo>
                <a:lnTo>
                  <a:pt x="14963" y="152"/>
                </a:lnTo>
                <a:lnTo>
                  <a:pt x="14963" y="50"/>
                </a:lnTo>
                <a:lnTo>
                  <a:pt x="14861" y="50"/>
                </a:lnTo>
                <a:lnTo>
                  <a:pt x="14861" y="152"/>
                </a:lnTo>
                <a:close/>
                <a:moveTo>
                  <a:pt x="14873" y="832"/>
                </a:moveTo>
                <a:lnTo>
                  <a:pt x="14951" y="832"/>
                </a:lnTo>
                <a:lnTo>
                  <a:pt x="14951" y="293"/>
                </a:lnTo>
                <a:lnTo>
                  <a:pt x="14873" y="293"/>
                </a:lnTo>
                <a:lnTo>
                  <a:pt x="14873" y="832"/>
                </a:lnTo>
                <a:close/>
                <a:moveTo>
                  <a:pt x="14669" y="457"/>
                </a:moveTo>
                <a:lnTo>
                  <a:pt x="14761" y="457"/>
                </a:lnTo>
                <a:lnTo>
                  <a:pt x="14760" y="436"/>
                </a:lnTo>
                <a:lnTo>
                  <a:pt x="14758" y="416"/>
                </a:lnTo>
                <a:lnTo>
                  <a:pt x="14754" y="397"/>
                </a:lnTo>
                <a:lnTo>
                  <a:pt x="14748" y="380"/>
                </a:lnTo>
                <a:lnTo>
                  <a:pt x="14741" y="364"/>
                </a:lnTo>
                <a:lnTo>
                  <a:pt x="14733" y="350"/>
                </a:lnTo>
                <a:lnTo>
                  <a:pt x="14723" y="337"/>
                </a:lnTo>
                <a:lnTo>
                  <a:pt x="14712" y="325"/>
                </a:lnTo>
                <a:lnTo>
                  <a:pt x="14699" y="315"/>
                </a:lnTo>
                <a:lnTo>
                  <a:pt x="14685" y="306"/>
                </a:lnTo>
                <a:lnTo>
                  <a:pt x="14670" y="298"/>
                </a:lnTo>
                <a:lnTo>
                  <a:pt x="14654" y="292"/>
                </a:lnTo>
                <a:lnTo>
                  <a:pt x="14636" y="287"/>
                </a:lnTo>
                <a:lnTo>
                  <a:pt x="14617" y="283"/>
                </a:lnTo>
                <a:lnTo>
                  <a:pt x="14596" y="281"/>
                </a:lnTo>
                <a:lnTo>
                  <a:pt x="14576" y="281"/>
                </a:lnTo>
                <a:lnTo>
                  <a:pt x="14560" y="281"/>
                </a:lnTo>
                <a:lnTo>
                  <a:pt x="14546" y="282"/>
                </a:lnTo>
                <a:lnTo>
                  <a:pt x="14532" y="284"/>
                </a:lnTo>
                <a:lnTo>
                  <a:pt x="14519" y="286"/>
                </a:lnTo>
                <a:lnTo>
                  <a:pt x="14506" y="289"/>
                </a:lnTo>
                <a:lnTo>
                  <a:pt x="14494" y="293"/>
                </a:lnTo>
                <a:lnTo>
                  <a:pt x="14482" y="297"/>
                </a:lnTo>
                <a:lnTo>
                  <a:pt x="14472" y="302"/>
                </a:lnTo>
                <a:lnTo>
                  <a:pt x="14461" y="307"/>
                </a:lnTo>
                <a:lnTo>
                  <a:pt x="14451" y="313"/>
                </a:lnTo>
                <a:lnTo>
                  <a:pt x="14442" y="320"/>
                </a:lnTo>
                <a:lnTo>
                  <a:pt x="14434" y="327"/>
                </a:lnTo>
                <a:lnTo>
                  <a:pt x="14425" y="334"/>
                </a:lnTo>
                <a:lnTo>
                  <a:pt x="14418" y="343"/>
                </a:lnTo>
                <a:lnTo>
                  <a:pt x="14411" y="351"/>
                </a:lnTo>
                <a:lnTo>
                  <a:pt x="14404" y="360"/>
                </a:lnTo>
                <a:lnTo>
                  <a:pt x="14398" y="369"/>
                </a:lnTo>
                <a:lnTo>
                  <a:pt x="14392" y="379"/>
                </a:lnTo>
                <a:lnTo>
                  <a:pt x="14387" y="389"/>
                </a:lnTo>
                <a:lnTo>
                  <a:pt x="14382" y="400"/>
                </a:lnTo>
                <a:lnTo>
                  <a:pt x="14374" y="422"/>
                </a:lnTo>
                <a:lnTo>
                  <a:pt x="14367" y="446"/>
                </a:lnTo>
                <a:lnTo>
                  <a:pt x="14362" y="470"/>
                </a:lnTo>
                <a:lnTo>
                  <a:pt x="14359" y="496"/>
                </a:lnTo>
                <a:lnTo>
                  <a:pt x="14357" y="522"/>
                </a:lnTo>
                <a:lnTo>
                  <a:pt x="14356" y="550"/>
                </a:lnTo>
                <a:lnTo>
                  <a:pt x="14356" y="566"/>
                </a:lnTo>
                <a:lnTo>
                  <a:pt x="14357" y="582"/>
                </a:lnTo>
                <a:lnTo>
                  <a:pt x="14359" y="598"/>
                </a:lnTo>
                <a:lnTo>
                  <a:pt x="14360" y="614"/>
                </a:lnTo>
                <a:lnTo>
                  <a:pt x="14363" y="629"/>
                </a:lnTo>
                <a:lnTo>
                  <a:pt x="14366" y="643"/>
                </a:lnTo>
                <a:lnTo>
                  <a:pt x="14369" y="658"/>
                </a:lnTo>
                <a:lnTo>
                  <a:pt x="14373" y="671"/>
                </a:lnTo>
                <a:lnTo>
                  <a:pt x="14378" y="685"/>
                </a:lnTo>
                <a:lnTo>
                  <a:pt x="14383" y="697"/>
                </a:lnTo>
                <a:lnTo>
                  <a:pt x="14389" y="710"/>
                </a:lnTo>
                <a:lnTo>
                  <a:pt x="14395" y="722"/>
                </a:lnTo>
                <a:lnTo>
                  <a:pt x="14402" y="733"/>
                </a:lnTo>
                <a:lnTo>
                  <a:pt x="14409" y="744"/>
                </a:lnTo>
                <a:lnTo>
                  <a:pt x="14417" y="754"/>
                </a:lnTo>
                <a:lnTo>
                  <a:pt x="14425" y="764"/>
                </a:lnTo>
                <a:lnTo>
                  <a:pt x="14434" y="773"/>
                </a:lnTo>
                <a:lnTo>
                  <a:pt x="14444" y="782"/>
                </a:lnTo>
                <a:lnTo>
                  <a:pt x="14454" y="790"/>
                </a:lnTo>
                <a:lnTo>
                  <a:pt x="14464" y="798"/>
                </a:lnTo>
                <a:lnTo>
                  <a:pt x="14475" y="805"/>
                </a:lnTo>
                <a:lnTo>
                  <a:pt x="14487" y="812"/>
                </a:lnTo>
                <a:lnTo>
                  <a:pt x="14499" y="818"/>
                </a:lnTo>
                <a:lnTo>
                  <a:pt x="14512" y="824"/>
                </a:lnTo>
                <a:lnTo>
                  <a:pt x="14525" y="829"/>
                </a:lnTo>
                <a:lnTo>
                  <a:pt x="14539" y="833"/>
                </a:lnTo>
                <a:lnTo>
                  <a:pt x="14553" y="836"/>
                </a:lnTo>
                <a:lnTo>
                  <a:pt x="14568" y="839"/>
                </a:lnTo>
                <a:lnTo>
                  <a:pt x="14584" y="842"/>
                </a:lnTo>
                <a:lnTo>
                  <a:pt x="14600" y="843"/>
                </a:lnTo>
                <a:lnTo>
                  <a:pt x="14617" y="844"/>
                </a:lnTo>
                <a:lnTo>
                  <a:pt x="14634" y="844"/>
                </a:lnTo>
                <a:lnTo>
                  <a:pt x="14663" y="844"/>
                </a:lnTo>
                <a:lnTo>
                  <a:pt x="14691" y="841"/>
                </a:lnTo>
                <a:lnTo>
                  <a:pt x="14705" y="839"/>
                </a:lnTo>
                <a:lnTo>
                  <a:pt x="14719" y="837"/>
                </a:lnTo>
                <a:lnTo>
                  <a:pt x="14732" y="834"/>
                </a:lnTo>
                <a:lnTo>
                  <a:pt x="14746" y="830"/>
                </a:lnTo>
                <a:lnTo>
                  <a:pt x="14746" y="768"/>
                </a:lnTo>
                <a:lnTo>
                  <a:pt x="14736" y="771"/>
                </a:lnTo>
                <a:lnTo>
                  <a:pt x="14725" y="773"/>
                </a:lnTo>
                <a:lnTo>
                  <a:pt x="14714" y="775"/>
                </a:lnTo>
                <a:lnTo>
                  <a:pt x="14703" y="777"/>
                </a:lnTo>
                <a:lnTo>
                  <a:pt x="14681" y="779"/>
                </a:lnTo>
                <a:lnTo>
                  <a:pt x="14659" y="779"/>
                </a:lnTo>
                <a:lnTo>
                  <a:pt x="14645" y="779"/>
                </a:lnTo>
                <a:lnTo>
                  <a:pt x="14632" y="778"/>
                </a:lnTo>
                <a:lnTo>
                  <a:pt x="14619" y="776"/>
                </a:lnTo>
                <a:lnTo>
                  <a:pt x="14606" y="774"/>
                </a:lnTo>
                <a:lnTo>
                  <a:pt x="14593" y="771"/>
                </a:lnTo>
                <a:lnTo>
                  <a:pt x="14582" y="768"/>
                </a:lnTo>
                <a:lnTo>
                  <a:pt x="14571" y="764"/>
                </a:lnTo>
                <a:lnTo>
                  <a:pt x="14560" y="760"/>
                </a:lnTo>
                <a:lnTo>
                  <a:pt x="14550" y="755"/>
                </a:lnTo>
                <a:lnTo>
                  <a:pt x="14541" y="750"/>
                </a:lnTo>
                <a:lnTo>
                  <a:pt x="14532" y="744"/>
                </a:lnTo>
                <a:lnTo>
                  <a:pt x="14523" y="738"/>
                </a:lnTo>
                <a:lnTo>
                  <a:pt x="14515" y="731"/>
                </a:lnTo>
                <a:lnTo>
                  <a:pt x="14508" y="724"/>
                </a:lnTo>
                <a:lnTo>
                  <a:pt x="14501" y="716"/>
                </a:lnTo>
                <a:lnTo>
                  <a:pt x="14494" y="708"/>
                </a:lnTo>
                <a:lnTo>
                  <a:pt x="14488" y="700"/>
                </a:lnTo>
                <a:lnTo>
                  <a:pt x="14482" y="691"/>
                </a:lnTo>
                <a:lnTo>
                  <a:pt x="14477" y="681"/>
                </a:lnTo>
                <a:lnTo>
                  <a:pt x="14472" y="672"/>
                </a:lnTo>
                <a:lnTo>
                  <a:pt x="14467" y="662"/>
                </a:lnTo>
                <a:lnTo>
                  <a:pt x="14463" y="651"/>
                </a:lnTo>
                <a:lnTo>
                  <a:pt x="14460" y="641"/>
                </a:lnTo>
                <a:lnTo>
                  <a:pt x="14456" y="630"/>
                </a:lnTo>
                <a:lnTo>
                  <a:pt x="14451" y="607"/>
                </a:lnTo>
                <a:lnTo>
                  <a:pt x="14447" y="583"/>
                </a:lnTo>
                <a:lnTo>
                  <a:pt x="14445" y="558"/>
                </a:lnTo>
                <a:lnTo>
                  <a:pt x="14444" y="533"/>
                </a:lnTo>
                <a:lnTo>
                  <a:pt x="14445" y="517"/>
                </a:lnTo>
                <a:lnTo>
                  <a:pt x="14446" y="502"/>
                </a:lnTo>
                <a:lnTo>
                  <a:pt x="14448" y="485"/>
                </a:lnTo>
                <a:lnTo>
                  <a:pt x="14451" y="469"/>
                </a:lnTo>
                <a:lnTo>
                  <a:pt x="14454" y="454"/>
                </a:lnTo>
                <a:lnTo>
                  <a:pt x="14459" y="438"/>
                </a:lnTo>
                <a:lnTo>
                  <a:pt x="14465" y="423"/>
                </a:lnTo>
                <a:lnTo>
                  <a:pt x="14471" y="409"/>
                </a:lnTo>
                <a:lnTo>
                  <a:pt x="14479" y="395"/>
                </a:lnTo>
                <a:lnTo>
                  <a:pt x="14489" y="383"/>
                </a:lnTo>
                <a:lnTo>
                  <a:pt x="14494" y="378"/>
                </a:lnTo>
                <a:lnTo>
                  <a:pt x="14499" y="372"/>
                </a:lnTo>
                <a:lnTo>
                  <a:pt x="14505" y="367"/>
                </a:lnTo>
                <a:lnTo>
                  <a:pt x="14511" y="363"/>
                </a:lnTo>
                <a:lnTo>
                  <a:pt x="14517" y="359"/>
                </a:lnTo>
                <a:lnTo>
                  <a:pt x="14524" y="355"/>
                </a:lnTo>
                <a:lnTo>
                  <a:pt x="14531" y="352"/>
                </a:lnTo>
                <a:lnTo>
                  <a:pt x="14538" y="350"/>
                </a:lnTo>
                <a:lnTo>
                  <a:pt x="14546" y="348"/>
                </a:lnTo>
                <a:lnTo>
                  <a:pt x="14555" y="346"/>
                </a:lnTo>
                <a:lnTo>
                  <a:pt x="14563" y="345"/>
                </a:lnTo>
                <a:lnTo>
                  <a:pt x="14572" y="345"/>
                </a:lnTo>
                <a:lnTo>
                  <a:pt x="14585" y="346"/>
                </a:lnTo>
                <a:lnTo>
                  <a:pt x="14596" y="347"/>
                </a:lnTo>
                <a:lnTo>
                  <a:pt x="14608" y="350"/>
                </a:lnTo>
                <a:lnTo>
                  <a:pt x="14617" y="354"/>
                </a:lnTo>
                <a:lnTo>
                  <a:pt x="14626" y="358"/>
                </a:lnTo>
                <a:lnTo>
                  <a:pt x="14634" y="364"/>
                </a:lnTo>
                <a:lnTo>
                  <a:pt x="14641" y="370"/>
                </a:lnTo>
                <a:lnTo>
                  <a:pt x="14647" y="378"/>
                </a:lnTo>
                <a:lnTo>
                  <a:pt x="14652" y="386"/>
                </a:lnTo>
                <a:lnTo>
                  <a:pt x="14657" y="394"/>
                </a:lnTo>
                <a:lnTo>
                  <a:pt x="14661" y="403"/>
                </a:lnTo>
                <a:lnTo>
                  <a:pt x="14664" y="413"/>
                </a:lnTo>
                <a:lnTo>
                  <a:pt x="14666" y="423"/>
                </a:lnTo>
                <a:lnTo>
                  <a:pt x="14668" y="434"/>
                </a:lnTo>
                <a:lnTo>
                  <a:pt x="14669" y="445"/>
                </a:lnTo>
                <a:lnTo>
                  <a:pt x="14669" y="457"/>
                </a:lnTo>
                <a:close/>
                <a:moveTo>
                  <a:pt x="14126" y="608"/>
                </a:moveTo>
                <a:lnTo>
                  <a:pt x="14126" y="586"/>
                </a:lnTo>
                <a:lnTo>
                  <a:pt x="14128" y="564"/>
                </a:lnTo>
                <a:lnTo>
                  <a:pt x="14130" y="542"/>
                </a:lnTo>
                <a:lnTo>
                  <a:pt x="14134" y="520"/>
                </a:lnTo>
                <a:lnTo>
                  <a:pt x="14140" y="499"/>
                </a:lnTo>
                <a:lnTo>
                  <a:pt x="14146" y="479"/>
                </a:lnTo>
                <a:lnTo>
                  <a:pt x="14155" y="460"/>
                </a:lnTo>
                <a:lnTo>
                  <a:pt x="14164" y="442"/>
                </a:lnTo>
                <a:lnTo>
                  <a:pt x="14170" y="433"/>
                </a:lnTo>
                <a:lnTo>
                  <a:pt x="14176" y="425"/>
                </a:lnTo>
                <a:lnTo>
                  <a:pt x="14182" y="417"/>
                </a:lnTo>
                <a:lnTo>
                  <a:pt x="14189" y="410"/>
                </a:lnTo>
                <a:lnTo>
                  <a:pt x="14196" y="403"/>
                </a:lnTo>
                <a:lnTo>
                  <a:pt x="14204" y="396"/>
                </a:lnTo>
                <a:lnTo>
                  <a:pt x="14212" y="390"/>
                </a:lnTo>
                <a:lnTo>
                  <a:pt x="14220" y="385"/>
                </a:lnTo>
                <a:lnTo>
                  <a:pt x="14229" y="380"/>
                </a:lnTo>
                <a:lnTo>
                  <a:pt x="14239" y="376"/>
                </a:lnTo>
                <a:lnTo>
                  <a:pt x="14249" y="372"/>
                </a:lnTo>
                <a:lnTo>
                  <a:pt x="14260" y="369"/>
                </a:lnTo>
                <a:lnTo>
                  <a:pt x="14271" y="366"/>
                </a:lnTo>
                <a:lnTo>
                  <a:pt x="14283" y="365"/>
                </a:lnTo>
                <a:lnTo>
                  <a:pt x="14296" y="363"/>
                </a:lnTo>
                <a:lnTo>
                  <a:pt x="14309" y="363"/>
                </a:lnTo>
                <a:lnTo>
                  <a:pt x="14309" y="281"/>
                </a:lnTo>
                <a:lnTo>
                  <a:pt x="14293" y="281"/>
                </a:lnTo>
                <a:lnTo>
                  <a:pt x="14277" y="282"/>
                </a:lnTo>
                <a:lnTo>
                  <a:pt x="14262" y="285"/>
                </a:lnTo>
                <a:lnTo>
                  <a:pt x="14248" y="288"/>
                </a:lnTo>
                <a:lnTo>
                  <a:pt x="14235" y="292"/>
                </a:lnTo>
                <a:lnTo>
                  <a:pt x="14222" y="297"/>
                </a:lnTo>
                <a:lnTo>
                  <a:pt x="14210" y="303"/>
                </a:lnTo>
                <a:lnTo>
                  <a:pt x="14198" y="309"/>
                </a:lnTo>
                <a:lnTo>
                  <a:pt x="14187" y="317"/>
                </a:lnTo>
                <a:lnTo>
                  <a:pt x="14177" y="326"/>
                </a:lnTo>
                <a:lnTo>
                  <a:pt x="14167" y="335"/>
                </a:lnTo>
                <a:lnTo>
                  <a:pt x="14158" y="346"/>
                </a:lnTo>
                <a:lnTo>
                  <a:pt x="14150" y="357"/>
                </a:lnTo>
                <a:lnTo>
                  <a:pt x="14142" y="370"/>
                </a:lnTo>
                <a:lnTo>
                  <a:pt x="14134" y="383"/>
                </a:lnTo>
                <a:lnTo>
                  <a:pt x="14128" y="397"/>
                </a:lnTo>
                <a:lnTo>
                  <a:pt x="14126" y="397"/>
                </a:lnTo>
                <a:lnTo>
                  <a:pt x="14126" y="293"/>
                </a:lnTo>
                <a:lnTo>
                  <a:pt x="14049" y="293"/>
                </a:lnTo>
                <a:lnTo>
                  <a:pt x="14049" y="832"/>
                </a:lnTo>
                <a:lnTo>
                  <a:pt x="14126" y="832"/>
                </a:lnTo>
                <a:lnTo>
                  <a:pt x="14126" y="608"/>
                </a:lnTo>
                <a:close/>
                <a:moveTo>
                  <a:pt x="13796" y="832"/>
                </a:moveTo>
                <a:lnTo>
                  <a:pt x="13873" y="832"/>
                </a:lnTo>
                <a:lnTo>
                  <a:pt x="13873" y="293"/>
                </a:lnTo>
                <a:lnTo>
                  <a:pt x="13796" y="293"/>
                </a:lnTo>
                <a:lnTo>
                  <a:pt x="13796" y="515"/>
                </a:lnTo>
                <a:lnTo>
                  <a:pt x="13796" y="531"/>
                </a:lnTo>
                <a:lnTo>
                  <a:pt x="13794" y="550"/>
                </a:lnTo>
                <a:lnTo>
                  <a:pt x="13792" y="569"/>
                </a:lnTo>
                <a:lnTo>
                  <a:pt x="13788" y="590"/>
                </a:lnTo>
                <a:lnTo>
                  <a:pt x="13783" y="611"/>
                </a:lnTo>
                <a:lnTo>
                  <a:pt x="13777" y="632"/>
                </a:lnTo>
                <a:lnTo>
                  <a:pt x="13769" y="652"/>
                </a:lnTo>
                <a:lnTo>
                  <a:pt x="13761" y="672"/>
                </a:lnTo>
                <a:lnTo>
                  <a:pt x="13751" y="692"/>
                </a:lnTo>
                <a:lnTo>
                  <a:pt x="13740" y="709"/>
                </a:lnTo>
                <a:lnTo>
                  <a:pt x="13734" y="717"/>
                </a:lnTo>
                <a:lnTo>
                  <a:pt x="13728" y="725"/>
                </a:lnTo>
                <a:lnTo>
                  <a:pt x="13721" y="732"/>
                </a:lnTo>
                <a:lnTo>
                  <a:pt x="13714" y="739"/>
                </a:lnTo>
                <a:lnTo>
                  <a:pt x="13706" y="745"/>
                </a:lnTo>
                <a:lnTo>
                  <a:pt x="13699" y="751"/>
                </a:lnTo>
                <a:lnTo>
                  <a:pt x="13691" y="755"/>
                </a:lnTo>
                <a:lnTo>
                  <a:pt x="13682" y="759"/>
                </a:lnTo>
                <a:lnTo>
                  <a:pt x="13673" y="762"/>
                </a:lnTo>
                <a:lnTo>
                  <a:pt x="13664" y="765"/>
                </a:lnTo>
                <a:lnTo>
                  <a:pt x="13655" y="766"/>
                </a:lnTo>
                <a:lnTo>
                  <a:pt x="13645" y="767"/>
                </a:lnTo>
                <a:lnTo>
                  <a:pt x="13636" y="766"/>
                </a:lnTo>
                <a:lnTo>
                  <a:pt x="13628" y="765"/>
                </a:lnTo>
                <a:lnTo>
                  <a:pt x="13621" y="764"/>
                </a:lnTo>
                <a:lnTo>
                  <a:pt x="13615" y="762"/>
                </a:lnTo>
                <a:lnTo>
                  <a:pt x="13609" y="759"/>
                </a:lnTo>
                <a:lnTo>
                  <a:pt x="13604" y="756"/>
                </a:lnTo>
                <a:lnTo>
                  <a:pt x="13599" y="752"/>
                </a:lnTo>
                <a:lnTo>
                  <a:pt x="13594" y="748"/>
                </a:lnTo>
                <a:lnTo>
                  <a:pt x="13590" y="743"/>
                </a:lnTo>
                <a:lnTo>
                  <a:pt x="13586" y="738"/>
                </a:lnTo>
                <a:lnTo>
                  <a:pt x="13583" y="733"/>
                </a:lnTo>
                <a:lnTo>
                  <a:pt x="13580" y="727"/>
                </a:lnTo>
                <a:lnTo>
                  <a:pt x="13575" y="715"/>
                </a:lnTo>
                <a:lnTo>
                  <a:pt x="13571" y="702"/>
                </a:lnTo>
                <a:lnTo>
                  <a:pt x="13568" y="688"/>
                </a:lnTo>
                <a:lnTo>
                  <a:pt x="13566" y="674"/>
                </a:lnTo>
                <a:lnTo>
                  <a:pt x="13565" y="659"/>
                </a:lnTo>
                <a:lnTo>
                  <a:pt x="13565" y="645"/>
                </a:lnTo>
                <a:lnTo>
                  <a:pt x="13564" y="616"/>
                </a:lnTo>
                <a:lnTo>
                  <a:pt x="13565" y="591"/>
                </a:lnTo>
                <a:lnTo>
                  <a:pt x="13565" y="293"/>
                </a:lnTo>
                <a:lnTo>
                  <a:pt x="13488" y="293"/>
                </a:lnTo>
                <a:lnTo>
                  <a:pt x="13488" y="677"/>
                </a:lnTo>
                <a:lnTo>
                  <a:pt x="13488" y="693"/>
                </a:lnTo>
                <a:lnTo>
                  <a:pt x="13490" y="709"/>
                </a:lnTo>
                <a:lnTo>
                  <a:pt x="13492" y="725"/>
                </a:lnTo>
                <a:lnTo>
                  <a:pt x="13496" y="740"/>
                </a:lnTo>
                <a:lnTo>
                  <a:pt x="13501" y="754"/>
                </a:lnTo>
                <a:lnTo>
                  <a:pt x="13506" y="768"/>
                </a:lnTo>
                <a:lnTo>
                  <a:pt x="13513" y="781"/>
                </a:lnTo>
                <a:lnTo>
                  <a:pt x="13521" y="793"/>
                </a:lnTo>
                <a:lnTo>
                  <a:pt x="13530" y="804"/>
                </a:lnTo>
                <a:lnTo>
                  <a:pt x="13540" y="814"/>
                </a:lnTo>
                <a:lnTo>
                  <a:pt x="13552" y="823"/>
                </a:lnTo>
                <a:lnTo>
                  <a:pt x="13564" y="831"/>
                </a:lnTo>
                <a:lnTo>
                  <a:pt x="13578" y="837"/>
                </a:lnTo>
                <a:lnTo>
                  <a:pt x="13593" y="841"/>
                </a:lnTo>
                <a:lnTo>
                  <a:pt x="13609" y="844"/>
                </a:lnTo>
                <a:lnTo>
                  <a:pt x="13626" y="844"/>
                </a:lnTo>
                <a:lnTo>
                  <a:pt x="13644" y="844"/>
                </a:lnTo>
                <a:lnTo>
                  <a:pt x="13660" y="842"/>
                </a:lnTo>
                <a:lnTo>
                  <a:pt x="13674" y="839"/>
                </a:lnTo>
                <a:lnTo>
                  <a:pt x="13689" y="835"/>
                </a:lnTo>
                <a:lnTo>
                  <a:pt x="13702" y="829"/>
                </a:lnTo>
                <a:lnTo>
                  <a:pt x="13714" y="823"/>
                </a:lnTo>
                <a:lnTo>
                  <a:pt x="13725" y="815"/>
                </a:lnTo>
                <a:lnTo>
                  <a:pt x="13736" y="806"/>
                </a:lnTo>
                <a:lnTo>
                  <a:pt x="13746" y="797"/>
                </a:lnTo>
                <a:lnTo>
                  <a:pt x="13755" y="786"/>
                </a:lnTo>
                <a:lnTo>
                  <a:pt x="13763" y="775"/>
                </a:lnTo>
                <a:lnTo>
                  <a:pt x="13771" y="763"/>
                </a:lnTo>
                <a:lnTo>
                  <a:pt x="13777" y="750"/>
                </a:lnTo>
                <a:lnTo>
                  <a:pt x="13784" y="736"/>
                </a:lnTo>
                <a:lnTo>
                  <a:pt x="13789" y="722"/>
                </a:lnTo>
                <a:lnTo>
                  <a:pt x="13794" y="707"/>
                </a:lnTo>
                <a:lnTo>
                  <a:pt x="13796" y="707"/>
                </a:lnTo>
                <a:lnTo>
                  <a:pt x="13796" y="832"/>
                </a:lnTo>
                <a:close/>
                <a:moveTo>
                  <a:pt x="13139" y="844"/>
                </a:moveTo>
                <a:lnTo>
                  <a:pt x="13155" y="844"/>
                </a:lnTo>
                <a:lnTo>
                  <a:pt x="13169" y="843"/>
                </a:lnTo>
                <a:lnTo>
                  <a:pt x="13184" y="841"/>
                </a:lnTo>
                <a:lnTo>
                  <a:pt x="13197" y="838"/>
                </a:lnTo>
                <a:lnTo>
                  <a:pt x="13210" y="835"/>
                </a:lnTo>
                <a:lnTo>
                  <a:pt x="13222" y="831"/>
                </a:lnTo>
                <a:lnTo>
                  <a:pt x="13234" y="826"/>
                </a:lnTo>
                <a:lnTo>
                  <a:pt x="13245" y="821"/>
                </a:lnTo>
                <a:lnTo>
                  <a:pt x="13255" y="814"/>
                </a:lnTo>
                <a:lnTo>
                  <a:pt x="13265" y="808"/>
                </a:lnTo>
                <a:lnTo>
                  <a:pt x="13274" y="801"/>
                </a:lnTo>
                <a:lnTo>
                  <a:pt x="13283" y="793"/>
                </a:lnTo>
                <a:lnTo>
                  <a:pt x="13291" y="785"/>
                </a:lnTo>
                <a:lnTo>
                  <a:pt x="13299" y="777"/>
                </a:lnTo>
                <a:lnTo>
                  <a:pt x="13306" y="768"/>
                </a:lnTo>
                <a:lnTo>
                  <a:pt x="13313" y="758"/>
                </a:lnTo>
                <a:lnTo>
                  <a:pt x="13319" y="748"/>
                </a:lnTo>
                <a:lnTo>
                  <a:pt x="13326" y="738"/>
                </a:lnTo>
                <a:lnTo>
                  <a:pt x="13331" y="727"/>
                </a:lnTo>
                <a:lnTo>
                  <a:pt x="13336" y="716"/>
                </a:lnTo>
                <a:lnTo>
                  <a:pt x="13344" y="693"/>
                </a:lnTo>
                <a:lnTo>
                  <a:pt x="13351" y="668"/>
                </a:lnTo>
                <a:lnTo>
                  <a:pt x="13356" y="643"/>
                </a:lnTo>
                <a:lnTo>
                  <a:pt x="13359" y="617"/>
                </a:lnTo>
                <a:lnTo>
                  <a:pt x="13361" y="590"/>
                </a:lnTo>
                <a:lnTo>
                  <a:pt x="13362" y="563"/>
                </a:lnTo>
                <a:lnTo>
                  <a:pt x="13361" y="536"/>
                </a:lnTo>
                <a:lnTo>
                  <a:pt x="13359" y="509"/>
                </a:lnTo>
                <a:lnTo>
                  <a:pt x="13356" y="483"/>
                </a:lnTo>
                <a:lnTo>
                  <a:pt x="13351" y="457"/>
                </a:lnTo>
                <a:lnTo>
                  <a:pt x="13344" y="433"/>
                </a:lnTo>
                <a:lnTo>
                  <a:pt x="13336" y="410"/>
                </a:lnTo>
                <a:lnTo>
                  <a:pt x="13331" y="398"/>
                </a:lnTo>
                <a:lnTo>
                  <a:pt x="13326" y="388"/>
                </a:lnTo>
                <a:lnTo>
                  <a:pt x="13319" y="377"/>
                </a:lnTo>
                <a:lnTo>
                  <a:pt x="13313" y="367"/>
                </a:lnTo>
                <a:lnTo>
                  <a:pt x="13306" y="358"/>
                </a:lnTo>
                <a:lnTo>
                  <a:pt x="13299" y="348"/>
                </a:lnTo>
                <a:lnTo>
                  <a:pt x="13291" y="340"/>
                </a:lnTo>
                <a:lnTo>
                  <a:pt x="13283" y="332"/>
                </a:lnTo>
                <a:lnTo>
                  <a:pt x="13274" y="324"/>
                </a:lnTo>
                <a:lnTo>
                  <a:pt x="13265" y="317"/>
                </a:lnTo>
                <a:lnTo>
                  <a:pt x="13255" y="310"/>
                </a:lnTo>
                <a:lnTo>
                  <a:pt x="13245" y="304"/>
                </a:lnTo>
                <a:lnTo>
                  <a:pt x="13234" y="299"/>
                </a:lnTo>
                <a:lnTo>
                  <a:pt x="13222" y="294"/>
                </a:lnTo>
                <a:lnTo>
                  <a:pt x="13210" y="290"/>
                </a:lnTo>
                <a:lnTo>
                  <a:pt x="13197" y="287"/>
                </a:lnTo>
                <a:lnTo>
                  <a:pt x="13184" y="284"/>
                </a:lnTo>
                <a:lnTo>
                  <a:pt x="13169" y="282"/>
                </a:lnTo>
                <a:lnTo>
                  <a:pt x="13155" y="281"/>
                </a:lnTo>
                <a:lnTo>
                  <a:pt x="13139" y="281"/>
                </a:lnTo>
                <a:lnTo>
                  <a:pt x="13124" y="281"/>
                </a:lnTo>
                <a:lnTo>
                  <a:pt x="13110" y="282"/>
                </a:lnTo>
                <a:lnTo>
                  <a:pt x="13096" y="284"/>
                </a:lnTo>
                <a:lnTo>
                  <a:pt x="13082" y="287"/>
                </a:lnTo>
                <a:lnTo>
                  <a:pt x="13069" y="290"/>
                </a:lnTo>
                <a:lnTo>
                  <a:pt x="13057" y="294"/>
                </a:lnTo>
                <a:lnTo>
                  <a:pt x="13046" y="299"/>
                </a:lnTo>
                <a:lnTo>
                  <a:pt x="13035" y="304"/>
                </a:lnTo>
                <a:lnTo>
                  <a:pt x="13025" y="310"/>
                </a:lnTo>
                <a:lnTo>
                  <a:pt x="13015" y="317"/>
                </a:lnTo>
                <a:lnTo>
                  <a:pt x="13006" y="324"/>
                </a:lnTo>
                <a:lnTo>
                  <a:pt x="12996" y="332"/>
                </a:lnTo>
                <a:lnTo>
                  <a:pt x="12988" y="340"/>
                </a:lnTo>
                <a:lnTo>
                  <a:pt x="12980" y="349"/>
                </a:lnTo>
                <a:lnTo>
                  <a:pt x="12973" y="358"/>
                </a:lnTo>
                <a:lnTo>
                  <a:pt x="12966" y="368"/>
                </a:lnTo>
                <a:lnTo>
                  <a:pt x="12960" y="378"/>
                </a:lnTo>
                <a:lnTo>
                  <a:pt x="12955" y="388"/>
                </a:lnTo>
                <a:lnTo>
                  <a:pt x="12949" y="399"/>
                </a:lnTo>
                <a:lnTo>
                  <a:pt x="12945" y="410"/>
                </a:lnTo>
                <a:lnTo>
                  <a:pt x="12936" y="434"/>
                </a:lnTo>
                <a:lnTo>
                  <a:pt x="12930" y="458"/>
                </a:lnTo>
                <a:lnTo>
                  <a:pt x="12925" y="483"/>
                </a:lnTo>
                <a:lnTo>
                  <a:pt x="12922" y="509"/>
                </a:lnTo>
                <a:lnTo>
                  <a:pt x="12920" y="536"/>
                </a:lnTo>
                <a:lnTo>
                  <a:pt x="12919" y="563"/>
                </a:lnTo>
                <a:lnTo>
                  <a:pt x="12920" y="590"/>
                </a:lnTo>
                <a:lnTo>
                  <a:pt x="12922" y="617"/>
                </a:lnTo>
                <a:lnTo>
                  <a:pt x="12925" y="643"/>
                </a:lnTo>
                <a:lnTo>
                  <a:pt x="12930" y="668"/>
                </a:lnTo>
                <a:lnTo>
                  <a:pt x="12936" y="692"/>
                </a:lnTo>
                <a:lnTo>
                  <a:pt x="12945" y="715"/>
                </a:lnTo>
                <a:lnTo>
                  <a:pt x="12949" y="727"/>
                </a:lnTo>
                <a:lnTo>
                  <a:pt x="12955" y="737"/>
                </a:lnTo>
                <a:lnTo>
                  <a:pt x="12960" y="748"/>
                </a:lnTo>
                <a:lnTo>
                  <a:pt x="12966" y="758"/>
                </a:lnTo>
                <a:lnTo>
                  <a:pt x="12973" y="767"/>
                </a:lnTo>
                <a:lnTo>
                  <a:pt x="12980" y="776"/>
                </a:lnTo>
                <a:lnTo>
                  <a:pt x="12988" y="785"/>
                </a:lnTo>
                <a:lnTo>
                  <a:pt x="12996" y="793"/>
                </a:lnTo>
                <a:lnTo>
                  <a:pt x="13006" y="801"/>
                </a:lnTo>
                <a:lnTo>
                  <a:pt x="13015" y="808"/>
                </a:lnTo>
                <a:lnTo>
                  <a:pt x="13025" y="814"/>
                </a:lnTo>
                <a:lnTo>
                  <a:pt x="13035" y="821"/>
                </a:lnTo>
                <a:lnTo>
                  <a:pt x="13046" y="826"/>
                </a:lnTo>
                <a:lnTo>
                  <a:pt x="13057" y="831"/>
                </a:lnTo>
                <a:lnTo>
                  <a:pt x="13069" y="835"/>
                </a:lnTo>
                <a:lnTo>
                  <a:pt x="13082" y="838"/>
                </a:lnTo>
                <a:lnTo>
                  <a:pt x="13096" y="841"/>
                </a:lnTo>
                <a:lnTo>
                  <a:pt x="13110" y="843"/>
                </a:lnTo>
                <a:lnTo>
                  <a:pt x="13124" y="844"/>
                </a:lnTo>
                <a:lnTo>
                  <a:pt x="13139" y="844"/>
                </a:lnTo>
                <a:close/>
                <a:moveTo>
                  <a:pt x="13139" y="345"/>
                </a:moveTo>
                <a:lnTo>
                  <a:pt x="13150" y="345"/>
                </a:lnTo>
                <a:lnTo>
                  <a:pt x="13159" y="346"/>
                </a:lnTo>
                <a:lnTo>
                  <a:pt x="13169" y="348"/>
                </a:lnTo>
                <a:lnTo>
                  <a:pt x="13177" y="351"/>
                </a:lnTo>
                <a:lnTo>
                  <a:pt x="13186" y="354"/>
                </a:lnTo>
                <a:lnTo>
                  <a:pt x="13193" y="358"/>
                </a:lnTo>
                <a:lnTo>
                  <a:pt x="13201" y="362"/>
                </a:lnTo>
                <a:lnTo>
                  <a:pt x="13208" y="367"/>
                </a:lnTo>
                <a:lnTo>
                  <a:pt x="13214" y="372"/>
                </a:lnTo>
                <a:lnTo>
                  <a:pt x="13220" y="378"/>
                </a:lnTo>
                <a:lnTo>
                  <a:pt x="13226" y="384"/>
                </a:lnTo>
                <a:lnTo>
                  <a:pt x="13231" y="391"/>
                </a:lnTo>
                <a:lnTo>
                  <a:pt x="13240" y="405"/>
                </a:lnTo>
                <a:lnTo>
                  <a:pt x="13248" y="421"/>
                </a:lnTo>
                <a:lnTo>
                  <a:pt x="13255" y="438"/>
                </a:lnTo>
                <a:lnTo>
                  <a:pt x="13260" y="455"/>
                </a:lnTo>
                <a:lnTo>
                  <a:pt x="13265" y="473"/>
                </a:lnTo>
                <a:lnTo>
                  <a:pt x="13268" y="491"/>
                </a:lnTo>
                <a:lnTo>
                  <a:pt x="13270" y="510"/>
                </a:lnTo>
                <a:lnTo>
                  <a:pt x="13272" y="528"/>
                </a:lnTo>
                <a:lnTo>
                  <a:pt x="13273" y="545"/>
                </a:lnTo>
                <a:lnTo>
                  <a:pt x="13273" y="562"/>
                </a:lnTo>
                <a:lnTo>
                  <a:pt x="13273" y="579"/>
                </a:lnTo>
                <a:lnTo>
                  <a:pt x="13272" y="596"/>
                </a:lnTo>
                <a:lnTo>
                  <a:pt x="13270" y="614"/>
                </a:lnTo>
                <a:lnTo>
                  <a:pt x="13268" y="633"/>
                </a:lnTo>
                <a:lnTo>
                  <a:pt x="13265" y="651"/>
                </a:lnTo>
                <a:lnTo>
                  <a:pt x="13260" y="669"/>
                </a:lnTo>
                <a:lnTo>
                  <a:pt x="13255" y="686"/>
                </a:lnTo>
                <a:lnTo>
                  <a:pt x="13249" y="703"/>
                </a:lnTo>
                <a:lnTo>
                  <a:pt x="13241" y="719"/>
                </a:lnTo>
                <a:lnTo>
                  <a:pt x="13231" y="733"/>
                </a:lnTo>
                <a:lnTo>
                  <a:pt x="13226" y="740"/>
                </a:lnTo>
                <a:lnTo>
                  <a:pt x="13220" y="746"/>
                </a:lnTo>
                <a:lnTo>
                  <a:pt x="13214" y="752"/>
                </a:lnTo>
                <a:lnTo>
                  <a:pt x="13208" y="757"/>
                </a:lnTo>
                <a:lnTo>
                  <a:pt x="13201" y="762"/>
                </a:lnTo>
                <a:lnTo>
                  <a:pt x="13194" y="767"/>
                </a:lnTo>
                <a:lnTo>
                  <a:pt x="13186" y="770"/>
                </a:lnTo>
                <a:lnTo>
                  <a:pt x="13178" y="773"/>
                </a:lnTo>
                <a:lnTo>
                  <a:pt x="13169" y="776"/>
                </a:lnTo>
                <a:lnTo>
                  <a:pt x="13160" y="778"/>
                </a:lnTo>
                <a:lnTo>
                  <a:pt x="13150" y="779"/>
                </a:lnTo>
                <a:lnTo>
                  <a:pt x="13139" y="779"/>
                </a:lnTo>
                <a:lnTo>
                  <a:pt x="13129" y="779"/>
                </a:lnTo>
                <a:lnTo>
                  <a:pt x="13119" y="778"/>
                </a:lnTo>
                <a:lnTo>
                  <a:pt x="13110" y="776"/>
                </a:lnTo>
                <a:lnTo>
                  <a:pt x="13102" y="773"/>
                </a:lnTo>
                <a:lnTo>
                  <a:pt x="13093" y="770"/>
                </a:lnTo>
                <a:lnTo>
                  <a:pt x="13086" y="766"/>
                </a:lnTo>
                <a:lnTo>
                  <a:pt x="13078" y="762"/>
                </a:lnTo>
                <a:lnTo>
                  <a:pt x="13072" y="757"/>
                </a:lnTo>
                <a:lnTo>
                  <a:pt x="13065" y="752"/>
                </a:lnTo>
                <a:lnTo>
                  <a:pt x="13059" y="746"/>
                </a:lnTo>
                <a:lnTo>
                  <a:pt x="13054" y="740"/>
                </a:lnTo>
                <a:lnTo>
                  <a:pt x="13049" y="733"/>
                </a:lnTo>
                <a:lnTo>
                  <a:pt x="13040" y="719"/>
                </a:lnTo>
                <a:lnTo>
                  <a:pt x="13032" y="703"/>
                </a:lnTo>
                <a:lnTo>
                  <a:pt x="13025" y="686"/>
                </a:lnTo>
                <a:lnTo>
                  <a:pt x="13020" y="668"/>
                </a:lnTo>
                <a:lnTo>
                  <a:pt x="13016" y="650"/>
                </a:lnTo>
                <a:lnTo>
                  <a:pt x="13013" y="632"/>
                </a:lnTo>
                <a:lnTo>
                  <a:pt x="13011" y="614"/>
                </a:lnTo>
                <a:lnTo>
                  <a:pt x="13009" y="596"/>
                </a:lnTo>
                <a:lnTo>
                  <a:pt x="13009" y="579"/>
                </a:lnTo>
                <a:lnTo>
                  <a:pt x="13008" y="562"/>
                </a:lnTo>
                <a:lnTo>
                  <a:pt x="13009" y="545"/>
                </a:lnTo>
                <a:lnTo>
                  <a:pt x="13009" y="528"/>
                </a:lnTo>
                <a:lnTo>
                  <a:pt x="13011" y="510"/>
                </a:lnTo>
                <a:lnTo>
                  <a:pt x="13013" y="492"/>
                </a:lnTo>
                <a:lnTo>
                  <a:pt x="13016" y="474"/>
                </a:lnTo>
                <a:lnTo>
                  <a:pt x="13020" y="456"/>
                </a:lnTo>
                <a:lnTo>
                  <a:pt x="13025" y="438"/>
                </a:lnTo>
                <a:lnTo>
                  <a:pt x="13032" y="421"/>
                </a:lnTo>
                <a:lnTo>
                  <a:pt x="13040" y="405"/>
                </a:lnTo>
                <a:lnTo>
                  <a:pt x="13049" y="391"/>
                </a:lnTo>
                <a:lnTo>
                  <a:pt x="13054" y="384"/>
                </a:lnTo>
                <a:lnTo>
                  <a:pt x="13059" y="378"/>
                </a:lnTo>
                <a:lnTo>
                  <a:pt x="13065" y="372"/>
                </a:lnTo>
                <a:lnTo>
                  <a:pt x="13072" y="367"/>
                </a:lnTo>
                <a:lnTo>
                  <a:pt x="13078" y="362"/>
                </a:lnTo>
                <a:lnTo>
                  <a:pt x="13086" y="358"/>
                </a:lnTo>
                <a:lnTo>
                  <a:pt x="13093" y="354"/>
                </a:lnTo>
                <a:lnTo>
                  <a:pt x="13102" y="351"/>
                </a:lnTo>
                <a:lnTo>
                  <a:pt x="13110" y="348"/>
                </a:lnTo>
                <a:lnTo>
                  <a:pt x="13119" y="346"/>
                </a:lnTo>
                <a:lnTo>
                  <a:pt x="13129" y="345"/>
                </a:lnTo>
                <a:lnTo>
                  <a:pt x="13139" y="345"/>
                </a:lnTo>
                <a:close/>
                <a:moveTo>
                  <a:pt x="12648" y="844"/>
                </a:moveTo>
                <a:lnTo>
                  <a:pt x="12668" y="844"/>
                </a:lnTo>
                <a:lnTo>
                  <a:pt x="12688" y="842"/>
                </a:lnTo>
                <a:lnTo>
                  <a:pt x="12707" y="840"/>
                </a:lnTo>
                <a:lnTo>
                  <a:pt x="12725" y="836"/>
                </a:lnTo>
                <a:lnTo>
                  <a:pt x="12743" y="831"/>
                </a:lnTo>
                <a:lnTo>
                  <a:pt x="12759" y="825"/>
                </a:lnTo>
                <a:lnTo>
                  <a:pt x="12775" y="816"/>
                </a:lnTo>
                <a:lnTo>
                  <a:pt x="12789" y="807"/>
                </a:lnTo>
                <a:lnTo>
                  <a:pt x="12802" y="797"/>
                </a:lnTo>
                <a:lnTo>
                  <a:pt x="12814" y="785"/>
                </a:lnTo>
                <a:lnTo>
                  <a:pt x="12819" y="779"/>
                </a:lnTo>
                <a:lnTo>
                  <a:pt x="12824" y="772"/>
                </a:lnTo>
                <a:lnTo>
                  <a:pt x="12829" y="765"/>
                </a:lnTo>
                <a:lnTo>
                  <a:pt x="12833" y="757"/>
                </a:lnTo>
                <a:lnTo>
                  <a:pt x="12836" y="749"/>
                </a:lnTo>
                <a:lnTo>
                  <a:pt x="12840" y="741"/>
                </a:lnTo>
                <a:lnTo>
                  <a:pt x="12842" y="732"/>
                </a:lnTo>
                <a:lnTo>
                  <a:pt x="12845" y="722"/>
                </a:lnTo>
                <a:lnTo>
                  <a:pt x="12846" y="713"/>
                </a:lnTo>
                <a:lnTo>
                  <a:pt x="12848" y="702"/>
                </a:lnTo>
                <a:lnTo>
                  <a:pt x="12849" y="692"/>
                </a:lnTo>
                <a:lnTo>
                  <a:pt x="12849" y="681"/>
                </a:lnTo>
                <a:lnTo>
                  <a:pt x="12848" y="665"/>
                </a:lnTo>
                <a:lnTo>
                  <a:pt x="12846" y="650"/>
                </a:lnTo>
                <a:lnTo>
                  <a:pt x="12843" y="637"/>
                </a:lnTo>
                <a:lnTo>
                  <a:pt x="12838" y="625"/>
                </a:lnTo>
                <a:lnTo>
                  <a:pt x="12833" y="614"/>
                </a:lnTo>
                <a:lnTo>
                  <a:pt x="12826" y="604"/>
                </a:lnTo>
                <a:lnTo>
                  <a:pt x="12819" y="594"/>
                </a:lnTo>
                <a:lnTo>
                  <a:pt x="12811" y="586"/>
                </a:lnTo>
                <a:lnTo>
                  <a:pt x="12802" y="577"/>
                </a:lnTo>
                <a:lnTo>
                  <a:pt x="12792" y="570"/>
                </a:lnTo>
                <a:lnTo>
                  <a:pt x="12781" y="562"/>
                </a:lnTo>
                <a:lnTo>
                  <a:pt x="12771" y="555"/>
                </a:lnTo>
                <a:lnTo>
                  <a:pt x="12747" y="541"/>
                </a:lnTo>
                <a:lnTo>
                  <a:pt x="12723" y="527"/>
                </a:lnTo>
                <a:lnTo>
                  <a:pt x="12677" y="500"/>
                </a:lnTo>
                <a:lnTo>
                  <a:pt x="12648" y="485"/>
                </a:lnTo>
                <a:lnTo>
                  <a:pt x="12617" y="467"/>
                </a:lnTo>
                <a:lnTo>
                  <a:pt x="12609" y="462"/>
                </a:lnTo>
                <a:lnTo>
                  <a:pt x="12602" y="457"/>
                </a:lnTo>
                <a:lnTo>
                  <a:pt x="12596" y="451"/>
                </a:lnTo>
                <a:lnTo>
                  <a:pt x="12591" y="445"/>
                </a:lnTo>
                <a:lnTo>
                  <a:pt x="12586" y="438"/>
                </a:lnTo>
                <a:lnTo>
                  <a:pt x="12583" y="431"/>
                </a:lnTo>
                <a:lnTo>
                  <a:pt x="12581" y="423"/>
                </a:lnTo>
                <a:lnTo>
                  <a:pt x="12580" y="415"/>
                </a:lnTo>
                <a:lnTo>
                  <a:pt x="12581" y="406"/>
                </a:lnTo>
                <a:lnTo>
                  <a:pt x="12583" y="397"/>
                </a:lnTo>
                <a:lnTo>
                  <a:pt x="12586" y="389"/>
                </a:lnTo>
                <a:lnTo>
                  <a:pt x="12591" y="382"/>
                </a:lnTo>
                <a:lnTo>
                  <a:pt x="12597" y="376"/>
                </a:lnTo>
                <a:lnTo>
                  <a:pt x="12603" y="370"/>
                </a:lnTo>
                <a:lnTo>
                  <a:pt x="12610" y="365"/>
                </a:lnTo>
                <a:lnTo>
                  <a:pt x="12618" y="361"/>
                </a:lnTo>
                <a:lnTo>
                  <a:pt x="12627" y="357"/>
                </a:lnTo>
                <a:lnTo>
                  <a:pt x="12636" y="353"/>
                </a:lnTo>
                <a:lnTo>
                  <a:pt x="12645" y="351"/>
                </a:lnTo>
                <a:lnTo>
                  <a:pt x="12654" y="349"/>
                </a:lnTo>
                <a:lnTo>
                  <a:pt x="12672" y="346"/>
                </a:lnTo>
                <a:lnTo>
                  <a:pt x="12689" y="345"/>
                </a:lnTo>
                <a:lnTo>
                  <a:pt x="12705" y="345"/>
                </a:lnTo>
                <a:lnTo>
                  <a:pt x="12721" y="347"/>
                </a:lnTo>
                <a:lnTo>
                  <a:pt x="12737" y="349"/>
                </a:lnTo>
                <a:lnTo>
                  <a:pt x="12753" y="352"/>
                </a:lnTo>
                <a:lnTo>
                  <a:pt x="12769" y="356"/>
                </a:lnTo>
                <a:lnTo>
                  <a:pt x="12785" y="360"/>
                </a:lnTo>
                <a:lnTo>
                  <a:pt x="12800" y="365"/>
                </a:lnTo>
                <a:lnTo>
                  <a:pt x="12815" y="370"/>
                </a:lnTo>
                <a:lnTo>
                  <a:pt x="12815" y="299"/>
                </a:lnTo>
                <a:lnTo>
                  <a:pt x="12784" y="292"/>
                </a:lnTo>
                <a:lnTo>
                  <a:pt x="12752" y="286"/>
                </a:lnTo>
                <a:lnTo>
                  <a:pt x="12737" y="284"/>
                </a:lnTo>
                <a:lnTo>
                  <a:pt x="12721" y="282"/>
                </a:lnTo>
                <a:lnTo>
                  <a:pt x="12705" y="281"/>
                </a:lnTo>
                <a:lnTo>
                  <a:pt x="12688" y="281"/>
                </a:lnTo>
                <a:lnTo>
                  <a:pt x="12670" y="281"/>
                </a:lnTo>
                <a:lnTo>
                  <a:pt x="12653" y="282"/>
                </a:lnTo>
                <a:lnTo>
                  <a:pt x="12636" y="285"/>
                </a:lnTo>
                <a:lnTo>
                  <a:pt x="12619" y="288"/>
                </a:lnTo>
                <a:lnTo>
                  <a:pt x="12603" y="292"/>
                </a:lnTo>
                <a:lnTo>
                  <a:pt x="12588" y="298"/>
                </a:lnTo>
                <a:lnTo>
                  <a:pt x="12574" y="304"/>
                </a:lnTo>
                <a:lnTo>
                  <a:pt x="12560" y="312"/>
                </a:lnTo>
                <a:lnTo>
                  <a:pt x="12548" y="321"/>
                </a:lnTo>
                <a:lnTo>
                  <a:pt x="12537" y="331"/>
                </a:lnTo>
                <a:lnTo>
                  <a:pt x="12532" y="337"/>
                </a:lnTo>
                <a:lnTo>
                  <a:pt x="12527" y="343"/>
                </a:lnTo>
                <a:lnTo>
                  <a:pt x="12523" y="349"/>
                </a:lnTo>
                <a:lnTo>
                  <a:pt x="12519" y="356"/>
                </a:lnTo>
                <a:lnTo>
                  <a:pt x="12515" y="363"/>
                </a:lnTo>
                <a:lnTo>
                  <a:pt x="12512" y="370"/>
                </a:lnTo>
                <a:lnTo>
                  <a:pt x="12509" y="378"/>
                </a:lnTo>
                <a:lnTo>
                  <a:pt x="12507" y="386"/>
                </a:lnTo>
                <a:lnTo>
                  <a:pt x="12505" y="395"/>
                </a:lnTo>
                <a:lnTo>
                  <a:pt x="12504" y="404"/>
                </a:lnTo>
                <a:lnTo>
                  <a:pt x="12503" y="413"/>
                </a:lnTo>
                <a:lnTo>
                  <a:pt x="12503" y="423"/>
                </a:lnTo>
                <a:lnTo>
                  <a:pt x="12504" y="438"/>
                </a:lnTo>
                <a:lnTo>
                  <a:pt x="12506" y="452"/>
                </a:lnTo>
                <a:lnTo>
                  <a:pt x="12509" y="464"/>
                </a:lnTo>
                <a:lnTo>
                  <a:pt x="12513" y="476"/>
                </a:lnTo>
                <a:lnTo>
                  <a:pt x="12518" y="487"/>
                </a:lnTo>
                <a:lnTo>
                  <a:pt x="12525" y="496"/>
                </a:lnTo>
                <a:lnTo>
                  <a:pt x="12532" y="506"/>
                </a:lnTo>
                <a:lnTo>
                  <a:pt x="12540" y="514"/>
                </a:lnTo>
                <a:lnTo>
                  <a:pt x="12549" y="522"/>
                </a:lnTo>
                <a:lnTo>
                  <a:pt x="12559" y="530"/>
                </a:lnTo>
                <a:lnTo>
                  <a:pt x="12569" y="537"/>
                </a:lnTo>
                <a:lnTo>
                  <a:pt x="12579" y="543"/>
                </a:lnTo>
                <a:lnTo>
                  <a:pt x="12602" y="556"/>
                </a:lnTo>
                <a:lnTo>
                  <a:pt x="12625" y="569"/>
                </a:lnTo>
                <a:lnTo>
                  <a:pt x="12674" y="595"/>
                </a:lnTo>
                <a:lnTo>
                  <a:pt x="12690" y="603"/>
                </a:lnTo>
                <a:lnTo>
                  <a:pt x="12707" y="612"/>
                </a:lnTo>
                <a:lnTo>
                  <a:pt x="12723" y="621"/>
                </a:lnTo>
                <a:lnTo>
                  <a:pt x="12738" y="632"/>
                </a:lnTo>
                <a:lnTo>
                  <a:pt x="12745" y="637"/>
                </a:lnTo>
                <a:lnTo>
                  <a:pt x="12752" y="644"/>
                </a:lnTo>
                <a:lnTo>
                  <a:pt x="12757" y="650"/>
                </a:lnTo>
                <a:lnTo>
                  <a:pt x="12762" y="657"/>
                </a:lnTo>
                <a:lnTo>
                  <a:pt x="12766" y="665"/>
                </a:lnTo>
                <a:lnTo>
                  <a:pt x="12769" y="673"/>
                </a:lnTo>
                <a:lnTo>
                  <a:pt x="12771" y="682"/>
                </a:lnTo>
                <a:lnTo>
                  <a:pt x="12772" y="692"/>
                </a:lnTo>
                <a:lnTo>
                  <a:pt x="12771" y="705"/>
                </a:lnTo>
                <a:lnTo>
                  <a:pt x="12769" y="716"/>
                </a:lnTo>
                <a:lnTo>
                  <a:pt x="12765" y="726"/>
                </a:lnTo>
                <a:lnTo>
                  <a:pt x="12759" y="736"/>
                </a:lnTo>
                <a:lnTo>
                  <a:pt x="12753" y="744"/>
                </a:lnTo>
                <a:lnTo>
                  <a:pt x="12746" y="751"/>
                </a:lnTo>
                <a:lnTo>
                  <a:pt x="12737" y="757"/>
                </a:lnTo>
                <a:lnTo>
                  <a:pt x="12728" y="762"/>
                </a:lnTo>
                <a:lnTo>
                  <a:pt x="12718" y="767"/>
                </a:lnTo>
                <a:lnTo>
                  <a:pt x="12708" y="770"/>
                </a:lnTo>
                <a:lnTo>
                  <a:pt x="12697" y="773"/>
                </a:lnTo>
                <a:lnTo>
                  <a:pt x="12686" y="775"/>
                </a:lnTo>
                <a:lnTo>
                  <a:pt x="12662" y="778"/>
                </a:lnTo>
                <a:lnTo>
                  <a:pt x="12640" y="779"/>
                </a:lnTo>
                <a:lnTo>
                  <a:pt x="12622" y="778"/>
                </a:lnTo>
                <a:lnTo>
                  <a:pt x="12604" y="777"/>
                </a:lnTo>
                <a:lnTo>
                  <a:pt x="12587" y="774"/>
                </a:lnTo>
                <a:lnTo>
                  <a:pt x="12569" y="771"/>
                </a:lnTo>
                <a:lnTo>
                  <a:pt x="12552" y="767"/>
                </a:lnTo>
                <a:lnTo>
                  <a:pt x="12535" y="762"/>
                </a:lnTo>
                <a:lnTo>
                  <a:pt x="12518" y="757"/>
                </a:lnTo>
                <a:lnTo>
                  <a:pt x="12501" y="751"/>
                </a:lnTo>
                <a:lnTo>
                  <a:pt x="12501" y="822"/>
                </a:lnTo>
                <a:lnTo>
                  <a:pt x="12519" y="827"/>
                </a:lnTo>
                <a:lnTo>
                  <a:pt x="12537" y="832"/>
                </a:lnTo>
                <a:lnTo>
                  <a:pt x="12555" y="836"/>
                </a:lnTo>
                <a:lnTo>
                  <a:pt x="12573" y="839"/>
                </a:lnTo>
                <a:lnTo>
                  <a:pt x="12592" y="841"/>
                </a:lnTo>
                <a:lnTo>
                  <a:pt x="12610" y="843"/>
                </a:lnTo>
                <a:lnTo>
                  <a:pt x="12629" y="844"/>
                </a:lnTo>
                <a:lnTo>
                  <a:pt x="12648" y="844"/>
                </a:lnTo>
                <a:close/>
                <a:moveTo>
                  <a:pt x="12297" y="357"/>
                </a:moveTo>
                <a:lnTo>
                  <a:pt x="12443" y="357"/>
                </a:lnTo>
                <a:lnTo>
                  <a:pt x="12443" y="293"/>
                </a:lnTo>
                <a:lnTo>
                  <a:pt x="12297" y="293"/>
                </a:lnTo>
                <a:lnTo>
                  <a:pt x="12297" y="118"/>
                </a:lnTo>
                <a:lnTo>
                  <a:pt x="12220" y="166"/>
                </a:lnTo>
                <a:lnTo>
                  <a:pt x="12220" y="293"/>
                </a:lnTo>
                <a:lnTo>
                  <a:pt x="12132" y="293"/>
                </a:lnTo>
                <a:lnTo>
                  <a:pt x="12132" y="357"/>
                </a:lnTo>
                <a:lnTo>
                  <a:pt x="12220" y="357"/>
                </a:lnTo>
                <a:lnTo>
                  <a:pt x="12220" y="704"/>
                </a:lnTo>
                <a:lnTo>
                  <a:pt x="12221" y="723"/>
                </a:lnTo>
                <a:lnTo>
                  <a:pt x="12222" y="740"/>
                </a:lnTo>
                <a:lnTo>
                  <a:pt x="12225" y="756"/>
                </a:lnTo>
                <a:lnTo>
                  <a:pt x="12229" y="770"/>
                </a:lnTo>
                <a:lnTo>
                  <a:pt x="12234" y="783"/>
                </a:lnTo>
                <a:lnTo>
                  <a:pt x="12241" y="794"/>
                </a:lnTo>
                <a:lnTo>
                  <a:pt x="12248" y="804"/>
                </a:lnTo>
                <a:lnTo>
                  <a:pt x="12257" y="813"/>
                </a:lnTo>
                <a:lnTo>
                  <a:pt x="12267" y="822"/>
                </a:lnTo>
                <a:lnTo>
                  <a:pt x="12278" y="828"/>
                </a:lnTo>
                <a:lnTo>
                  <a:pt x="12290" y="833"/>
                </a:lnTo>
                <a:lnTo>
                  <a:pt x="12304" y="837"/>
                </a:lnTo>
                <a:lnTo>
                  <a:pt x="12318" y="841"/>
                </a:lnTo>
                <a:lnTo>
                  <a:pt x="12334" y="843"/>
                </a:lnTo>
                <a:lnTo>
                  <a:pt x="12351" y="844"/>
                </a:lnTo>
                <a:lnTo>
                  <a:pt x="12370" y="844"/>
                </a:lnTo>
                <a:lnTo>
                  <a:pt x="12387" y="844"/>
                </a:lnTo>
                <a:lnTo>
                  <a:pt x="12404" y="843"/>
                </a:lnTo>
                <a:lnTo>
                  <a:pt x="12421" y="841"/>
                </a:lnTo>
                <a:lnTo>
                  <a:pt x="12438" y="839"/>
                </a:lnTo>
                <a:lnTo>
                  <a:pt x="12438" y="769"/>
                </a:lnTo>
                <a:lnTo>
                  <a:pt x="12425" y="773"/>
                </a:lnTo>
                <a:lnTo>
                  <a:pt x="12413" y="777"/>
                </a:lnTo>
                <a:lnTo>
                  <a:pt x="12401" y="778"/>
                </a:lnTo>
                <a:lnTo>
                  <a:pt x="12386" y="779"/>
                </a:lnTo>
                <a:lnTo>
                  <a:pt x="12375" y="779"/>
                </a:lnTo>
                <a:lnTo>
                  <a:pt x="12365" y="778"/>
                </a:lnTo>
                <a:lnTo>
                  <a:pt x="12354" y="776"/>
                </a:lnTo>
                <a:lnTo>
                  <a:pt x="12346" y="773"/>
                </a:lnTo>
                <a:lnTo>
                  <a:pt x="12338" y="770"/>
                </a:lnTo>
                <a:lnTo>
                  <a:pt x="12331" y="766"/>
                </a:lnTo>
                <a:lnTo>
                  <a:pt x="12324" y="761"/>
                </a:lnTo>
                <a:lnTo>
                  <a:pt x="12318" y="755"/>
                </a:lnTo>
                <a:lnTo>
                  <a:pt x="12313" y="749"/>
                </a:lnTo>
                <a:lnTo>
                  <a:pt x="12309" y="743"/>
                </a:lnTo>
                <a:lnTo>
                  <a:pt x="12305" y="735"/>
                </a:lnTo>
                <a:lnTo>
                  <a:pt x="12302" y="727"/>
                </a:lnTo>
                <a:lnTo>
                  <a:pt x="12300" y="718"/>
                </a:lnTo>
                <a:lnTo>
                  <a:pt x="12298" y="709"/>
                </a:lnTo>
                <a:lnTo>
                  <a:pt x="12297" y="699"/>
                </a:lnTo>
                <a:lnTo>
                  <a:pt x="12297" y="689"/>
                </a:lnTo>
                <a:lnTo>
                  <a:pt x="12297" y="357"/>
                </a:lnTo>
                <a:close/>
                <a:moveTo>
                  <a:pt x="11931" y="832"/>
                </a:moveTo>
                <a:lnTo>
                  <a:pt x="12008" y="832"/>
                </a:lnTo>
                <a:lnTo>
                  <a:pt x="12008" y="293"/>
                </a:lnTo>
                <a:lnTo>
                  <a:pt x="11931" y="293"/>
                </a:lnTo>
                <a:lnTo>
                  <a:pt x="11931" y="515"/>
                </a:lnTo>
                <a:lnTo>
                  <a:pt x="11930" y="531"/>
                </a:lnTo>
                <a:lnTo>
                  <a:pt x="11928" y="550"/>
                </a:lnTo>
                <a:lnTo>
                  <a:pt x="11926" y="569"/>
                </a:lnTo>
                <a:lnTo>
                  <a:pt x="11922" y="590"/>
                </a:lnTo>
                <a:lnTo>
                  <a:pt x="11917" y="611"/>
                </a:lnTo>
                <a:lnTo>
                  <a:pt x="11911" y="632"/>
                </a:lnTo>
                <a:lnTo>
                  <a:pt x="11904" y="652"/>
                </a:lnTo>
                <a:lnTo>
                  <a:pt x="11895" y="672"/>
                </a:lnTo>
                <a:lnTo>
                  <a:pt x="11885" y="692"/>
                </a:lnTo>
                <a:lnTo>
                  <a:pt x="11874" y="709"/>
                </a:lnTo>
                <a:lnTo>
                  <a:pt x="11868" y="717"/>
                </a:lnTo>
                <a:lnTo>
                  <a:pt x="11862" y="725"/>
                </a:lnTo>
                <a:lnTo>
                  <a:pt x="11855" y="732"/>
                </a:lnTo>
                <a:lnTo>
                  <a:pt x="11848" y="739"/>
                </a:lnTo>
                <a:lnTo>
                  <a:pt x="11841" y="745"/>
                </a:lnTo>
                <a:lnTo>
                  <a:pt x="11833" y="751"/>
                </a:lnTo>
                <a:lnTo>
                  <a:pt x="11825" y="755"/>
                </a:lnTo>
                <a:lnTo>
                  <a:pt x="11817" y="759"/>
                </a:lnTo>
                <a:lnTo>
                  <a:pt x="11808" y="762"/>
                </a:lnTo>
                <a:lnTo>
                  <a:pt x="11799" y="765"/>
                </a:lnTo>
                <a:lnTo>
                  <a:pt x="11789" y="766"/>
                </a:lnTo>
                <a:lnTo>
                  <a:pt x="11779" y="767"/>
                </a:lnTo>
                <a:lnTo>
                  <a:pt x="11771" y="766"/>
                </a:lnTo>
                <a:lnTo>
                  <a:pt x="11764" y="765"/>
                </a:lnTo>
                <a:lnTo>
                  <a:pt x="11757" y="764"/>
                </a:lnTo>
                <a:lnTo>
                  <a:pt x="11750" y="762"/>
                </a:lnTo>
                <a:lnTo>
                  <a:pt x="11744" y="759"/>
                </a:lnTo>
                <a:lnTo>
                  <a:pt x="11739" y="756"/>
                </a:lnTo>
                <a:lnTo>
                  <a:pt x="11734" y="752"/>
                </a:lnTo>
                <a:lnTo>
                  <a:pt x="11730" y="748"/>
                </a:lnTo>
                <a:lnTo>
                  <a:pt x="11725" y="743"/>
                </a:lnTo>
                <a:lnTo>
                  <a:pt x="11722" y="738"/>
                </a:lnTo>
                <a:lnTo>
                  <a:pt x="11718" y="733"/>
                </a:lnTo>
                <a:lnTo>
                  <a:pt x="11714" y="727"/>
                </a:lnTo>
                <a:lnTo>
                  <a:pt x="11709" y="715"/>
                </a:lnTo>
                <a:lnTo>
                  <a:pt x="11705" y="702"/>
                </a:lnTo>
                <a:lnTo>
                  <a:pt x="11703" y="688"/>
                </a:lnTo>
                <a:lnTo>
                  <a:pt x="11701" y="674"/>
                </a:lnTo>
                <a:lnTo>
                  <a:pt x="11700" y="659"/>
                </a:lnTo>
                <a:lnTo>
                  <a:pt x="11699" y="645"/>
                </a:lnTo>
                <a:lnTo>
                  <a:pt x="11699" y="616"/>
                </a:lnTo>
                <a:lnTo>
                  <a:pt x="11699" y="591"/>
                </a:lnTo>
                <a:lnTo>
                  <a:pt x="11699" y="293"/>
                </a:lnTo>
                <a:lnTo>
                  <a:pt x="11622" y="293"/>
                </a:lnTo>
                <a:lnTo>
                  <a:pt x="11622" y="677"/>
                </a:lnTo>
                <a:lnTo>
                  <a:pt x="11623" y="693"/>
                </a:lnTo>
                <a:lnTo>
                  <a:pt x="11624" y="709"/>
                </a:lnTo>
                <a:lnTo>
                  <a:pt x="11627" y="725"/>
                </a:lnTo>
                <a:lnTo>
                  <a:pt x="11630" y="740"/>
                </a:lnTo>
                <a:lnTo>
                  <a:pt x="11635" y="754"/>
                </a:lnTo>
                <a:lnTo>
                  <a:pt x="11641" y="768"/>
                </a:lnTo>
                <a:lnTo>
                  <a:pt x="11647" y="781"/>
                </a:lnTo>
                <a:lnTo>
                  <a:pt x="11655" y="793"/>
                </a:lnTo>
                <a:lnTo>
                  <a:pt x="11664" y="804"/>
                </a:lnTo>
                <a:lnTo>
                  <a:pt x="11675" y="814"/>
                </a:lnTo>
                <a:lnTo>
                  <a:pt x="11686" y="823"/>
                </a:lnTo>
                <a:lnTo>
                  <a:pt x="11698" y="831"/>
                </a:lnTo>
                <a:lnTo>
                  <a:pt x="11712" y="837"/>
                </a:lnTo>
                <a:lnTo>
                  <a:pt x="11728" y="841"/>
                </a:lnTo>
                <a:lnTo>
                  <a:pt x="11744" y="844"/>
                </a:lnTo>
                <a:lnTo>
                  <a:pt x="11761" y="844"/>
                </a:lnTo>
                <a:lnTo>
                  <a:pt x="11778" y="844"/>
                </a:lnTo>
                <a:lnTo>
                  <a:pt x="11794" y="842"/>
                </a:lnTo>
                <a:lnTo>
                  <a:pt x="11809" y="839"/>
                </a:lnTo>
                <a:lnTo>
                  <a:pt x="11823" y="835"/>
                </a:lnTo>
                <a:lnTo>
                  <a:pt x="11836" y="829"/>
                </a:lnTo>
                <a:lnTo>
                  <a:pt x="11848" y="823"/>
                </a:lnTo>
                <a:lnTo>
                  <a:pt x="11860" y="815"/>
                </a:lnTo>
                <a:lnTo>
                  <a:pt x="11870" y="806"/>
                </a:lnTo>
                <a:lnTo>
                  <a:pt x="11880" y="797"/>
                </a:lnTo>
                <a:lnTo>
                  <a:pt x="11889" y="786"/>
                </a:lnTo>
                <a:lnTo>
                  <a:pt x="11897" y="775"/>
                </a:lnTo>
                <a:lnTo>
                  <a:pt x="11905" y="763"/>
                </a:lnTo>
                <a:lnTo>
                  <a:pt x="11912" y="750"/>
                </a:lnTo>
                <a:lnTo>
                  <a:pt x="11918" y="736"/>
                </a:lnTo>
                <a:lnTo>
                  <a:pt x="11923" y="722"/>
                </a:lnTo>
                <a:lnTo>
                  <a:pt x="11928" y="707"/>
                </a:lnTo>
                <a:lnTo>
                  <a:pt x="11931" y="707"/>
                </a:lnTo>
                <a:lnTo>
                  <a:pt x="11931" y="832"/>
                </a:lnTo>
                <a:close/>
                <a:moveTo>
                  <a:pt x="11274" y="844"/>
                </a:moveTo>
                <a:lnTo>
                  <a:pt x="11289" y="844"/>
                </a:lnTo>
                <a:lnTo>
                  <a:pt x="11304" y="843"/>
                </a:lnTo>
                <a:lnTo>
                  <a:pt x="11318" y="841"/>
                </a:lnTo>
                <a:lnTo>
                  <a:pt x="11331" y="838"/>
                </a:lnTo>
                <a:lnTo>
                  <a:pt x="11344" y="835"/>
                </a:lnTo>
                <a:lnTo>
                  <a:pt x="11356" y="831"/>
                </a:lnTo>
                <a:lnTo>
                  <a:pt x="11368" y="826"/>
                </a:lnTo>
                <a:lnTo>
                  <a:pt x="11379" y="821"/>
                </a:lnTo>
                <a:lnTo>
                  <a:pt x="11389" y="814"/>
                </a:lnTo>
                <a:lnTo>
                  <a:pt x="11400" y="808"/>
                </a:lnTo>
                <a:lnTo>
                  <a:pt x="11410" y="801"/>
                </a:lnTo>
                <a:lnTo>
                  <a:pt x="11418" y="793"/>
                </a:lnTo>
                <a:lnTo>
                  <a:pt x="11427" y="785"/>
                </a:lnTo>
                <a:lnTo>
                  <a:pt x="11434" y="777"/>
                </a:lnTo>
                <a:lnTo>
                  <a:pt x="11442" y="768"/>
                </a:lnTo>
                <a:lnTo>
                  <a:pt x="11448" y="758"/>
                </a:lnTo>
                <a:lnTo>
                  <a:pt x="11455" y="748"/>
                </a:lnTo>
                <a:lnTo>
                  <a:pt x="11460" y="738"/>
                </a:lnTo>
                <a:lnTo>
                  <a:pt x="11466" y="727"/>
                </a:lnTo>
                <a:lnTo>
                  <a:pt x="11470" y="716"/>
                </a:lnTo>
                <a:lnTo>
                  <a:pt x="11479" y="693"/>
                </a:lnTo>
                <a:lnTo>
                  <a:pt x="11485" y="668"/>
                </a:lnTo>
                <a:lnTo>
                  <a:pt x="11490" y="643"/>
                </a:lnTo>
                <a:lnTo>
                  <a:pt x="11494" y="617"/>
                </a:lnTo>
                <a:lnTo>
                  <a:pt x="11496" y="590"/>
                </a:lnTo>
                <a:lnTo>
                  <a:pt x="11496" y="563"/>
                </a:lnTo>
                <a:lnTo>
                  <a:pt x="11496" y="536"/>
                </a:lnTo>
                <a:lnTo>
                  <a:pt x="11494" y="509"/>
                </a:lnTo>
                <a:lnTo>
                  <a:pt x="11490" y="483"/>
                </a:lnTo>
                <a:lnTo>
                  <a:pt x="11485" y="457"/>
                </a:lnTo>
                <a:lnTo>
                  <a:pt x="11479" y="433"/>
                </a:lnTo>
                <a:lnTo>
                  <a:pt x="11470" y="410"/>
                </a:lnTo>
                <a:lnTo>
                  <a:pt x="11466" y="398"/>
                </a:lnTo>
                <a:lnTo>
                  <a:pt x="11460" y="388"/>
                </a:lnTo>
                <a:lnTo>
                  <a:pt x="11455" y="377"/>
                </a:lnTo>
                <a:lnTo>
                  <a:pt x="11448" y="367"/>
                </a:lnTo>
                <a:lnTo>
                  <a:pt x="11442" y="358"/>
                </a:lnTo>
                <a:lnTo>
                  <a:pt x="11434" y="348"/>
                </a:lnTo>
                <a:lnTo>
                  <a:pt x="11427" y="340"/>
                </a:lnTo>
                <a:lnTo>
                  <a:pt x="11418" y="332"/>
                </a:lnTo>
                <a:lnTo>
                  <a:pt x="11410" y="324"/>
                </a:lnTo>
                <a:lnTo>
                  <a:pt x="11400" y="317"/>
                </a:lnTo>
                <a:lnTo>
                  <a:pt x="11389" y="310"/>
                </a:lnTo>
                <a:lnTo>
                  <a:pt x="11379" y="304"/>
                </a:lnTo>
                <a:lnTo>
                  <a:pt x="11368" y="299"/>
                </a:lnTo>
                <a:lnTo>
                  <a:pt x="11356" y="294"/>
                </a:lnTo>
                <a:lnTo>
                  <a:pt x="11344" y="290"/>
                </a:lnTo>
                <a:lnTo>
                  <a:pt x="11331" y="287"/>
                </a:lnTo>
                <a:lnTo>
                  <a:pt x="11318" y="284"/>
                </a:lnTo>
                <a:lnTo>
                  <a:pt x="11304" y="282"/>
                </a:lnTo>
                <a:lnTo>
                  <a:pt x="11289" y="281"/>
                </a:lnTo>
                <a:lnTo>
                  <a:pt x="11274" y="281"/>
                </a:lnTo>
                <a:lnTo>
                  <a:pt x="11258" y="281"/>
                </a:lnTo>
                <a:lnTo>
                  <a:pt x="11244" y="282"/>
                </a:lnTo>
                <a:lnTo>
                  <a:pt x="11230" y="284"/>
                </a:lnTo>
                <a:lnTo>
                  <a:pt x="11217" y="287"/>
                </a:lnTo>
                <a:lnTo>
                  <a:pt x="11204" y="290"/>
                </a:lnTo>
                <a:lnTo>
                  <a:pt x="11192" y="294"/>
                </a:lnTo>
                <a:lnTo>
                  <a:pt x="11180" y="299"/>
                </a:lnTo>
                <a:lnTo>
                  <a:pt x="11169" y="304"/>
                </a:lnTo>
                <a:lnTo>
                  <a:pt x="11159" y="310"/>
                </a:lnTo>
                <a:lnTo>
                  <a:pt x="11149" y="317"/>
                </a:lnTo>
                <a:lnTo>
                  <a:pt x="11140" y="324"/>
                </a:lnTo>
                <a:lnTo>
                  <a:pt x="11131" y="332"/>
                </a:lnTo>
                <a:lnTo>
                  <a:pt x="11123" y="340"/>
                </a:lnTo>
                <a:lnTo>
                  <a:pt x="11115" y="349"/>
                </a:lnTo>
                <a:lnTo>
                  <a:pt x="11108" y="358"/>
                </a:lnTo>
                <a:lnTo>
                  <a:pt x="11102" y="368"/>
                </a:lnTo>
                <a:lnTo>
                  <a:pt x="11096" y="378"/>
                </a:lnTo>
                <a:lnTo>
                  <a:pt x="11090" y="388"/>
                </a:lnTo>
                <a:lnTo>
                  <a:pt x="11085" y="399"/>
                </a:lnTo>
                <a:lnTo>
                  <a:pt x="11080" y="410"/>
                </a:lnTo>
                <a:lnTo>
                  <a:pt x="11071" y="434"/>
                </a:lnTo>
                <a:lnTo>
                  <a:pt x="11064" y="458"/>
                </a:lnTo>
                <a:lnTo>
                  <a:pt x="11059" y="483"/>
                </a:lnTo>
                <a:lnTo>
                  <a:pt x="11056" y="509"/>
                </a:lnTo>
                <a:lnTo>
                  <a:pt x="11054" y="536"/>
                </a:lnTo>
                <a:lnTo>
                  <a:pt x="11053" y="563"/>
                </a:lnTo>
                <a:lnTo>
                  <a:pt x="11054" y="590"/>
                </a:lnTo>
                <a:lnTo>
                  <a:pt x="11056" y="617"/>
                </a:lnTo>
                <a:lnTo>
                  <a:pt x="11059" y="643"/>
                </a:lnTo>
                <a:lnTo>
                  <a:pt x="11064" y="668"/>
                </a:lnTo>
                <a:lnTo>
                  <a:pt x="11071" y="692"/>
                </a:lnTo>
                <a:lnTo>
                  <a:pt x="11080" y="715"/>
                </a:lnTo>
                <a:lnTo>
                  <a:pt x="11085" y="727"/>
                </a:lnTo>
                <a:lnTo>
                  <a:pt x="11090" y="737"/>
                </a:lnTo>
                <a:lnTo>
                  <a:pt x="11096" y="748"/>
                </a:lnTo>
                <a:lnTo>
                  <a:pt x="11102" y="758"/>
                </a:lnTo>
                <a:lnTo>
                  <a:pt x="11108" y="767"/>
                </a:lnTo>
                <a:lnTo>
                  <a:pt x="11115" y="776"/>
                </a:lnTo>
                <a:lnTo>
                  <a:pt x="11123" y="785"/>
                </a:lnTo>
                <a:lnTo>
                  <a:pt x="11131" y="793"/>
                </a:lnTo>
                <a:lnTo>
                  <a:pt x="11140" y="801"/>
                </a:lnTo>
                <a:lnTo>
                  <a:pt x="11149" y="808"/>
                </a:lnTo>
                <a:lnTo>
                  <a:pt x="11159" y="814"/>
                </a:lnTo>
                <a:lnTo>
                  <a:pt x="11169" y="821"/>
                </a:lnTo>
                <a:lnTo>
                  <a:pt x="11180" y="826"/>
                </a:lnTo>
                <a:lnTo>
                  <a:pt x="11192" y="831"/>
                </a:lnTo>
                <a:lnTo>
                  <a:pt x="11204" y="835"/>
                </a:lnTo>
                <a:lnTo>
                  <a:pt x="11217" y="838"/>
                </a:lnTo>
                <a:lnTo>
                  <a:pt x="11230" y="841"/>
                </a:lnTo>
                <a:lnTo>
                  <a:pt x="11244" y="843"/>
                </a:lnTo>
                <a:lnTo>
                  <a:pt x="11258" y="844"/>
                </a:lnTo>
                <a:lnTo>
                  <a:pt x="11274" y="844"/>
                </a:lnTo>
                <a:close/>
                <a:moveTo>
                  <a:pt x="11274" y="345"/>
                </a:moveTo>
                <a:lnTo>
                  <a:pt x="11284" y="345"/>
                </a:lnTo>
                <a:lnTo>
                  <a:pt x="11294" y="346"/>
                </a:lnTo>
                <a:lnTo>
                  <a:pt x="11303" y="348"/>
                </a:lnTo>
                <a:lnTo>
                  <a:pt x="11312" y="351"/>
                </a:lnTo>
                <a:lnTo>
                  <a:pt x="11320" y="354"/>
                </a:lnTo>
                <a:lnTo>
                  <a:pt x="11328" y="358"/>
                </a:lnTo>
                <a:lnTo>
                  <a:pt x="11335" y="362"/>
                </a:lnTo>
                <a:lnTo>
                  <a:pt x="11342" y="367"/>
                </a:lnTo>
                <a:lnTo>
                  <a:pt x="11348" y="372"/>
                </a:lnTo>
                <a:lnTo>
                  <a:pt x="11354" y="378"/>
                </a:lnTo>
                <a:lnTo>
                  <a:pt x="11360" y="384"/>
                </a:lnTo>
                <a:lnTo>
                  <a:pt x="11365" y="391"/>
                </a:lnTo>
                <a:lnTo>
                  <a:pt x="11374" y="405"/>
                </a:lnTo>
                <a:lnTo>
                  <a:pt x="11382" y="421"/>
                </a:lnTo>
                <a:lnTo>
                  <a:pt x="11389" y="438"/>
                </a:lnTo>
                <a:lnTo>
                  <a:pt x="11394" y="455"/>
                </a:lnTo>
                <a:lnTo>
                  <a:pt x="11400" y="473"/>
                </a:lnTo>
                <a:lnTo>
                  <a:pt x="11403" y="491"/>
                </a:lnTo>
                <a:lnTo>
                  <a:pt x="11405" y="510"/>
                </a:lnTo>
                <a:lnTo>
                  <a:pt x="11407" y="528"/>
                </a:lnTo>
                <a:lnTo>
                  <a:pt x="11408" y="545"/>
                </a:lnTo>
                <a:lnTo>
                  <a:pt x="11408" y="562"/>
                </a:lnTo>
                <a:lnTo>
                  <a:pt x="11408" y="579"/>
                </a:lnTo>
                <a:lnTo>
                  <a:pt x="11407" y="596"/>
                </a:lnTo>
                <a:lnTo>
                  <a:pt x="11406" y="614"/>
                </a:lnTo>
                <a:lnTo>
                  <a:pt x="11403" y="633"/>
                </a:lnTo>
                <a:lnTo>
                  <a:pt x="11400" y="651"/>
                </a:lnTo>
                <a:lnTo>
                  <a:pt x="11396" y="669"/>
                </a:lnTo>
                <a:lnTo>
                  <a:pt x="11389" y="686"/>
                </a:lnTo>
                <a:lnTo>
                  <a:pt x="11383" y="703"/>
                </a:lnTo>
                <a:lnTo>
                  <a:pt x="11375" y="719"/>
                </a:lnTo>
                <a:lnTo>
                  <a:pt x="11366" y="733"/>
                </a:lnTo>
                <a:lnTo>
                  <a:pt x="11360" y="740"/>
                </a:lnTo>
                <a:lnTo>
                  <a:pt x="11355" y="746"/>
                </a:lnTo>
                <a:lnTo>
                  <a:pt x="11349" y="752"/>
                </a:lnTo>
                <a:lnTo>
                  <a:pt x="11342" y="757"/>
                </a:lnTo>
                <a:lnTo>
                  <a:pt x="11335" y="762"/>
                </a:lnTo>
                <a:lnTo>
                  <a:pt x="11328" y="767"/>
                </a:lnTo>
                <a:lnTo>
                  <a:pt x="11320" y="770"/>
                </a:lnTo>
                <a:lnTo>
                  <a:pt x="11312" y="773"/>
                </a:lnTo>
                <a:lnTo>
                  <a:pt x="11303" y="776"/>
                </a:lnTo>
                <a:lnTo>
                  <a:pt x="11294" y="778"/>
                </a:lnTo>
                <a:lnTo>
                  <a:pt x="11284" y="779"/>
                </a:lnTo>
                <a:lnTo>
                  <a:pt x="11274" y="779"/>
                </a:lnTo>
                <a:lnTo>
                  <a:pt x="11264" y="779"/>
                </a:lnTo>
                <a:lnTo>
                  <a:pt x="11254" y="778"/>
                </a:lnTo>
                <a:lnTo>
                  <a:pt x="11245" y="776"/>
                </a:lnTo>
                <a:lnTo>
                  <a:pt x="11236" y="773"/>
                </a:lnTo>
                <a:lnTo>
                  <a:pt x="11228" y="770"/>
                </a:lnTo>
                <a:lnTo>
                  <a:pt x="11220" y="766"/>
                </a:lnTo>
                <a:lnTo>
                  <a:pt x="11213" y="762"/>
                </a:lnTo>
                <a:lnTo>
                  <a:pt x="11206" y="757"/>
                </a:lnTo>
                <a:lnTo>
                  <a:pt x="11200" y="752"/>
                </a:lnTo>
                <a:lnTo>
                  <a:pt x="11194" y="746"/>
                </a:lnTo>
                <a:lnTo>
                  <a:pt x="11188" y="740"/>
                </a:lnTo>
                <a:lnTo>
                  <a:pt x="11183" y="733"/>
                </a:lnTo>
                <a:lnTo>
                  <a:pt x="11174" y="719"/>
                </a:lnTo>
                <a:lnTo>
                  <a:pt x="11166" y="703"/>
                </a:lnTo>
                <a:lnTo>
                  <a:pt x="11160" y="686"/>
                </a:lnTo>
                <a:lnTo>
                  <a:pt x="11154" y="668"/>
                </a:lnTo>
                <a:lnTo>
                  <a:pt x="11150" y="650"/>
                </a:lnTo>
                <a:lnTo>
                  <a:pt x="11147" y="632"/>
                </a:lnTo>
                <a:lnTo>
                  <a:pt x="11145" y="614"/>
                </a:lnTo>
                <a:lnTo>
                  <a:pt x="11144" y="596"/>
                </a:lnTo>
                <a:lnTo>
                  <a:pt x="11143" y="579"/>
                </a:lnTo>
                <a:lnTo>
                  <a:pt x="11143" y="562"/>
                </a:lnTo>
                <a:lnTo>
                  <a:pt x="11143" y="545"/>
                </a:lnTo>
                <a:lnTo>
                  <a:pt x="11144" y="528"/>
                </a:lnTo>
                <a:lnTo>
                  <a:pt x="11145" y="510"/>
                </a:lnTo>
                <a:lnTo>
                  <a:pt x="11147" y="492"/>
                </a:lnTo>
                <a:lnTo>
                  <a:pt x="11150" y="474"/>
                </a:lnTo>
                <a:lnTo>
                  <a:pt x="11154" y="456"/>
                </a:lnTo>
                <a:lnTo>
                  <a:pt x="11160" y="438"/>
                </a:lnTo>
                <a:lnTo>
                  <a:pt x="11166" y="421"/>
                </a:lnTo>
                <a:lnTo>
                  <a:pt x="11174" y="405"/>
                </a:lnTo>
                <a:lnTo>
                  <a:pt x="11183" y="391"/>
                </a:lnTo>
                <a:lnTo>
                  <a:pt x="11188" y="384"/>
                </a:lnTo>
                <a:lnTo>
                  <a:pt x="11194" y="378"/>
                </a:lnTo>
                <a:lnTo>
                  <a:pt x="11200" y="372"/>
                </a:lnTo>
                <a:lnTo>
                  <a:pt x="11206" y="367"/>
                </a:lnTo>
                <a:lnTo>
                  <a:pt x="11213" y="362"/>
                </a:lnTo>
                <a:lnTo>
                  <a:pt x="11220" y="358"/>
                </a:lnTo>
                <a:lnTo>
                  <a:pt x="11228" y="354"/>
                </a:lnTo>
                <a:lnTo>
                  <a:pt x="11236" y="351"/>
                </a:lnTo>
                <a:lnTo>
                  <a:pt x="11245" y="348"/>
                </a:lnTo>
                <a:lnTo>
                  <a:pt x="11254" y="346"/>
                </a:lnTo>
                <a:lnTo>
                  <a:pt x="11264" y="345"/>
                </a:lnTo>
                <a:lnTo>
                  <a:pt x="11274" y="345"/>
                </a:lnTo>
                <a:close/>
                <a:moveTo>
                  <a:pt x="10547" y="1090"/>
                </a:moveTo>
                <a:lnTo>
                  <a:pt x="10589" y="1090"/>
                </a:lnTo>
                <a:lnTo>
                  <a:pt x="10589" y="0"/>
                </a:lnTo>
                <a:lnTo>
                  <a:pt x="10547" y="0"/>
                </a:lnTo>
                <a:lnTo>
                  <a:pt x="10547" y="1090"/>
                </a:lnTo>
                <a:close/>
                <a:moveTo>
                  <a:pt x="9864" y="1050"/>
                </a:moveTo>
                <a:lnTo>
                  <a:pt x="10125" y="293"/>
                </a:lnTo>
                <a:lnTo>
                  <a:pt x="10042" y="293"/>
                </a:lnTo>
                <a:lnTo>
                  <a:pt x="9897" y="716"/>
                </a:lnTo>
                <a:lnTo>
                  <a:pt x="9895" y="716"/>
                </a:lnTo>
                <a:lnTo>
                  <a:pt x="9736" y="293"/>
                </a:lnTo>
                <a:lnTo>
                  <a:pt x="9654" y="293"/>
                </a:lnTo>
                <a:lnTo>
                  <a:pt x="9861" y="832"/>
                </a:lnTo>
                <a:lnTo>
                  <a:pt x="9784" y="1050"/>
                </a:lnTo>
                <a:lnTo>
                  <a:pt x="9864" y="1050"/>
                </a:lnTo>
                <a:close/>
                <a:moveTo>
                  <a:pt x="9340" y="1067"/>
                </a:moveTo>
                <a:lnTo>
                  <a:pt x="9354" y="1067"/>
                </a:lnTo>
                <a:lnTo>
                  <a:pt x="9368" y="1066"/>
                </a:lnTo>
                <a:lnTo>
                  <a:pt x="9381" y="1065"/>
                </a:lnTo>
                <a:lnTo>
                  <a:pt x="9394" y="1063"/>
                </a:lnTo>
                <a:lnTo>
                  <a:pt x="9406" y="1061"/>
                </a:lnTo>
                <a:lnTo>
                  <a:pt x="9418" y="1059"/>
                </a:lnTo>
                <a:lnTo>
                  <a:pt x="9430" y="1056"/>
                </a:lnTo>
                <a:lnTo>
                  <a:pt x="9441" y="1052"/>
                </a:lnTo>
                <a:lnTo>
                  <a:pt x="9451" y="1048"/>
                </a:lnTo>
                <a:lnTo>
                  <a:pt x="9461" y="1044"/>
                </a:lnTo>
                <a:lnTo>
                  <a:pt x="9472" y="1039"/>
                </a:lnTo>
                <a:lnTo>
                  <a:pt x="9481" y="1033"/>
                </a:lnTo>
                <a:lnTo>
                  <a:pt x="9490" y="1028"/>
                </a:lnTo>
                <a:lnTo>
                  <a:pt x="9498" y="1021"/>
                </a:lnTo>
                <a:lnTo>
                  <a:pt x="9506" y="1015"/>
                </a:lnTo>
                <a:lnTo>
                  <a:pt x="9513" y="1007"/>
                </a:lnTo>
                <a:lnTo>
                  <a:pt x="9520" y="1000"/>
                </a:lnTo>
                <a:lnTo>
                  <a:pt x="9526" y="992"/>
                </a:lnTo>
                <a:lnTo>
                  <a:pt x="9532" y="983"/>
                </a:lnTo>
                <a:lnTo>
                  <a:pt x="9538" y="974"/>
                </a:lnTo>
                <a:lnTo>
                  <a:pt x="9543" y="965"/>
                </a:lnTo>
                <a:lnTo>
                  <a:pt x="9547" y="955"/>
                </a:lnTo>
                <a:lnTo>
                  <a:pt x="9551" y="945"/>
                </a:lnTo>
                <a:lnTo>
                  <a:pt x="9555" y="934"/>
                </a:lnTo>
                <a:lnTo>
                  <a:pt x="9558" y="923"/>
                </a:lnTo>
                <a:lnTo>
                  <a:pt x="9561" y="911"/>
                </a:lnTo>
                <a:lnTo>
                  <a:pt x="9564" y="899"/>
                </a:lnTo>
                <a:lnTo>
                  <a:pt x="9565" y="887"/>
                </a:lnTo>
                <a:lnTo>
                  <a:pt x="9568" y="861"/>
                </a:lnTo>
                <a:lnTo>
                  <a:pt x="9569" y="833"/>
                </a:lnTo>
                <a:lnTo>
                  <a:pt x="9569" y="293"/>
                </a:lnTo>
                <a:lnTo>
                  <a:pt x="9492" y="293"/>
                </a:lnTo>
                <a:lnTo>
                  <a:pt x="9492" y="381"/>
                </a:lnTo>
                <a:lnTo>
                  <a:pt x="9490" y="381"/>
                </a:lnTo>
                <a:lnTo>
                  <a:pt x="9486" y="370"/>
                </a:lnTo>
                <a:lnTo>
                  <a:pt x="9481" y="359"/>
                </a:lnTo>
                <a:lnTo>
                  <a:pt x="9476" y="348"/>
                </a:lnTo>
                <a:lnTo>
                  <a:pt x="9470" y="339"/>
                </a:lnTo>
                <a:lnTo>
                  <a:pt x="9461" y="330"/>
                </a:lnTo>
                <a:lnTo>
                  <a:pt x="9454" y="322"/>
                </a:lnTo>
                <a:lnTo>
                  <a:pt x="9445" y="314"/>
                </a:lnTo>
                <a:lnTo>
                  <a:pt x="9436" y="307"/>
                </a:lnTo>
                <a:lnTo>
                  <a:pt x="9426" y="301"/>
                </a:lnTo>
                <a:lnTo>
                  <a:pt x="9416" y="296"/>
                </a:lnTo>
                <a:lnTo>
                  <a:pt x="9406" y="291"/>
                </a:lnTo>
                <a:lnTo>
                  <a:pt x="9395" y="287"/>
                </a:lnTo>
                <a:lnTo>
                  <a:pt x="9384" y="284"/>
                </a:lnTo>
                <a:lnTo>
                  <a:pt x="9372" y="282"/>
                </a:lnTo>
                <a:lnTo>
                  <a:pt x="9360" y="281"/>
                </a:lnTo>
                <a:lnTo>
                  <a:pt x="9349" y="281"/>
                </a:lnTo>
                <a:lnTo>
                  <a:pt x="9335" y="281"/>
                </a:lnTo>
                <a:lnTo>
                  <a:pt x="9322" y="282"/>
                </a:lnTo>
                <a:lnTo>
                  <a:pt x="9310" y="285"/>
                </a:lnTo>
                <a:lnTo>
                  <a:pt x="9298" y="288"/>
                </a:lnTo>
                <a:lnTo>
                  <a:pt x="9287" y="292"/>
                </a:lnTo>
                <a:lnTo>
                  <a:pt x="9277" y="297"/>
                </a:lnTo>
                <a:lnTo>
                  <a:pt x="9267" y="302"/>
                </a:lnTo>
                <a:lnTo>
                  <a:pt x="9258" y="309"/>
                </a:lnTo>
                <a:lnTo>
                  <a:pt x="9249" y="316"/>
                </a:lnTo>
                <a:lnTo>
                  <a:pt x="9241" y="323"/>
                </a:lnTo>
                <a:lnTo>
                  <a:pt x="9233" y="331"/>
                </a:lnTo>
                <a:lnTo>
                  <a:pt x="9226" y="340"/>
                </a:lnTo>
                <a:lnTo>
                  <a:pt x="9219" y="349"/>
                </a:lnTo>
                <a:lnTo>
                  <a:pt x="9213" y="359"/>
                </a:lnTo>
                <a:lnTo>
                  <a:pt x="9207" y="369"/>
                </a:lnTo>
                <a:lnTo>
                  <a:pt x="9201" y="379"/>
                </a:lnTo>
                <a:lnTo>
                  <a:pt x="9192" y="401"/>
                </a:lnTo>
                <a:lnTo>
                  <a:pt x="9184" y="424"/>
                </a:lnTo>
                <a:lnTo>
                  <a:pt x="9177" y="448"/>
                </a:lnTo>
                <a:lnTo>
                  <a:pt x="9172" y="472"/>
                </a:lnTo>
                <a:lnTo>
                  <a:pt x="9169" y="496"/>
                </a:lnTo>
                <a:lnTo>
                  <a:pt x="9166" y="520"/>
                </a:lnTo>
                <a:lnTo>
                  <a:pt x="9165" y="543"/>
                </a:lnTo>
                <a:lnTo>
                  <a:pt x="9164" y="565"/>
                </a:lnTo>
                <a:lnTo>
                  <a:pt x="9165" y="588"/>
                </a:lnTo>
                <a:lnTo>
                  <a:pt x="9166" y="612"/>
                </a:lnTo>
                <a:lnTo>
                  <a:pt x="9168" y="635"/>
                </a:lnTo>
                <a:lnTo>
                  <a:pt x="9172" y="658"/>
                </a:lnTo>
                <a:lnTo>
                  <a:pt x="9177" y="681"/>
                </a:lnTo>
                <a:lnTo>
                  <a:pt x="9183" y="703"/>
                </a:lnTo>
                <a:lnTo>
                  <a:pt x="9190" y="724"/>
                </a:lnTo>
                <a:lnTo>
                  <a:pt x="9200" y="744"/>
                </a:lnTo>
                <a:lnTo>
                  <a:pt x="9205" y="753"/>
                </a:lnTo>
                <a:lnTo>
                  <a:pt x="9211" y="762"/>
                </a:lnTo>
                <a:lnTo>
                  <a:pt x="9217" y="771"/>
                </a:lnTo>
                <a:lnTo>
                  <a:pt x="9224" y="779"/>
                </a:lnTo>
                <a:lnTo>
                  <a:pt x="9231" y="787"/>
                </a:lnTo>
                <a:lnTo>
                  <a:pt x="9238" y="794"/>
                </a:lnTo>
                <a:lnTo>
                  <a:pt x="9247" y="800"/>
                </a:lnTo>
                <a:lnTo>
                  <a:pt x="9255" y="807"/>
                </a:lnTo>
                <a:lnTo>
                  <a:pt x="9265" y="812"/>
                </a:lnTo>
                <a:lnTo>
                  <a:pt x="9274" y="818"/>
                </a:lnTo>
                <a:lnTo>
                  <a:pt x="9285" y="822"/>
                </a:lnTo>
                <a:lnTo>
                  <a:pt x="9296" y="826"/>
                </a:lnTo>
                <a:lnTo>
                  <a:pt x="9308" y="828"/>
                </a:lnTo>
                <a:lnTo>
                  <a:pt x="9320" y="830"/>
                </a:lnTo>
                <a:lnTo>
                  <a:pt x="9333" y="832"/>
                </a:lnTo>
                <a:lnTo>
                  <a:pt x="9346" y="832"/>
                </a:lnTo>
                <a:lnTo>
                  <a:pt x="9359" y="832"/>
                </a:lnTo>
                <a:lnTo>
                  <a:pt x="9371" y="830"/>
                </a:lnTo>
                <a:lnTo>
                  <a:pt x="9382" y="828"/>
                </a:lnTo>
                <a:lnTo>
                  <a:pt x="9394" y="825"/>
                </a:lnTo>
                <a:lnTo>
                  <a:pt x="9405" y="821"/>
                </a:lnTo>
                <a:lnTo>
                  <a:pt x="9415" y="816"/>
                </a:lnTo>
                <a:lnTo>
                  <a:pt x="9425" y="810"/>
                </a:lnTo>
                <a:lnTo>
                  <a:pt x="9435" y="804"/>
                </a:lnTo>
                <a:lnTo>
                  <a:pt x="9444" y="797"/>
                </a:lnTo>
                <a:lnTo>
                  <a:pt x="9452" y="789"/>
                </a:lnTo>
                <a:lnTo>
                  <a:pt x="9460" y="781"/>
                </a:lnTo>
                <a:lnTo>
                  <a:pt x="9467" y="771"/>
                </a:lnTo>
                <a:lnTo>
                  <a:pt x="9475" y="762"/>
                </a:lnTo>
                <a:lnTo>
                  <a:pt x="9481" y="751"/>
                </a:lnTo>
                <a:lnTo>
                  <a:pt x="9486" y="740"/>
                </a:lnTo>
                <a:lnTo>
                  <a:pt x="9490" y="728"/>
                </a:lnTo>
                <a:lnTo>
                  <a:pt x="9492" y="728"/>
                </a:lnTo>
                <a:lnTo>
                  <a:pt x="9492" y="824"/>
                </a:lnTo>
                <a:lnTo>
                  <a:pt x="9492" y="845"/>
                </a:lnTo>
                <a:lnTo>
                  <a:pt x="9490" y="865"/>
                </a:lnTo>
                <a:lnTo>
                  <a:pt x="9488" y="883"/>
                </a:lnTo>
                <a:lnTo>
                  <a:pt x="9484" y="901"/>
                </a:lnTo>
                <a:lnTo>
                  <a:pt x="9479" y="917"/>
                </a:lnTo>
                <a:lnTo>
                  <a:pt x="9473" y="931"/>
                </a:lnTo>
                <a:lnTo>
                  <a:pt x="9465" y="945"/>
                </a:lnTo>
                <a:lnTo>
                  <a:pt x="9456" y="957"/>
                </a:lnTo>
                <a:lnTo>
                  <a:pt x="9451" y="962"/>
                </a:lnTo>
                <a:lnTo>
                  <a:pt x="9446" y="967"/>
                </a:lnTo>
                <a:lnTo>
                  <a:pt x="9440" y="972"/>
                </a:lnTo>
                <a:lnTo>
                  <a:pt x="9434" y="977"/>
                </a:lnTo>
                <a:lnTo>
                  <a:pt x="9428" y="981"/>
                </a:lnTo>
                <a:lnTo>
                  <a:pt x="9421" y="985"/>
                </a:lnTo>
                <a:lnTo>
                  <a:pt x="9414" y="988"/>
                </a:lnTo>
                <a:lnTo>
                  <a:pt x="9406" y="991"/>
                </a:lnTo>
                <a:lnTo>
                  <a:pt x="9389" y="996"/>
                </a:lnTo>
                <a:lnTo>
                  <a:pt x="9371" y="1000"/>
                </a:lnTo>
                <a:lnTo>
                  <a:pt x="9351" y="1002"/>
                </a:lnTo>
                <a:lnTo>
                  <a:pt x="9328" y="1003"/>
                </a:lnTo>
                <a:lnTo>
                  <a:pt x="9311" y="1002"/>
                </a:lnTo>
                <a:lnTo>
                  <a:pt x="9293" y="1001"/>
                </a:lnTo>
                <a:lnTo>
                  <a:pt x="9276" y="998"/>
                </a:lnTo>
                <a:lnTo>
                  <a:pt x="9259" y="995"/>
                </a:lnTo>
                <a:lnTo>
                  <a:pt x="9243" y="990"/>
                </a:lnTo>
                <a:lnTo>
                  <a:pt x="9226" y="985"/>
                </a:lnTo>
                <a:lnTo>
                  <a:pt x="9210" y="978"/>
                </a:lnTo>
                <a:lnTo>
                  <a:pt x="9194" y="971"/>
                </a:lnTo>
                <a:lnTo>
                  <a:pt x="9194" y="1049"/>
                </a:lnTo>
                <a:lnTo>
                  <a:pt x="9230" y="1056"/>
                </a:lnTo>
                <a:lnTo>
                  <a:pt x="9266" y="1062"/>
                </a:lnTo>
                <a:lnTo>
                  <a:pt x="9284" y="1064"/>
                </a:lnTo>
                <a:lnTo>
                  <a:pt x="9302" y="1066"/>
                </a:lnTo>
                <a:lnTo>
                  <a:pt x="9320" y="1067"/>
                </a:lnTo>
                <a:lnTo>
                  <a:pt x="9340" y="1067"/>
                </a:lnTo>
                <a:close/>
                <a:moveTo>
                  <a:pt x="9364" y="345"/>
                </a:moveTo>
                <a:lnTo>
                  <a:pt x="9373" y="345"/>
                </a:lnTo>
                <a:lnTo>
                  <a:pt x="9382" y="346"/>
                </a:lnTo>
                <a:lnTo>
                  <a:pt x="9390" y="348"/>
                </a:lnTo>
                <a:lnTo>
                  <a:pt x="9397" y="351"/>
                </a:lnTo>
                <a:lnTo>
                  <a:pt x="9405" y="354"/>
                </a:lnTo>
                <a:lnTo>
                  <a:pt x="9412" y="358"/>
                </a:lnTo>
                <a:lnTo>
                  <a:pt x="9418" y="362"/>
                </a:lnTo>
                <a:lnTo>
                  <a:pt x="9425" y="367"/>
                </a:lnTo>
                <a:lnTo>
                  <a:pt x="9431" y="372"/>
                </a:lnTo>
                <a:lnTo>
                  <a:pt x="9436" y="378"/>
                </a:lnTo>
                <a:lnTo>
                  <a:pt x="9442" y="384"/>
                </a:lnTo>
                <a:lnTo>
                  <a:pt x="9447" y="391"/>
                </a:lnTo>
                <a:lnTo>
                  <a:pt x="9456" y="405"/>
                </a:lnTo>
                <a:lnTo>
                  <a:pt x="9464" y="420"/>
                </a:lnTo>
                <a:lnTo>
                  <a:pt x="9472" y="437"/>
                </a:lnTo>
                <a:lnTo>
                  <a:pt x="9477" y="454"/>
                </a:lnTo>
                <a:lnTo>
                  <a:pt x="9482" y="471"/>
                </a:lnTo>
                <a:lnTo>
                  <a:pt x="9486" y="488"/>
                </a:lnTo>
                <a:lnTo>
                  <a:pt x="9489" y="505"/>
                </a:lnTo>
                <a:lnTo>
                  <a:pt x="9491" y="522"/>
                </a:lnTo>
                <a:lnTo>
                  <a:pt x="9492" y="537"/>
                </a:lnTo>
                <a:lnTo>
                  <a:pt x="9492" y="552"/>
                </a:lnTo>
                <a:lnTo>
                  <a:pt x="9492" y="567"/>
                </a:lnTo>
                <a:lnTo>
                  <a:pt x="9491" y="583"/>
                </a:lnTo>
                <a:lnTo>
                  <a:pt x="9489" y="600"/>
                </a:lnTo>
                <a:lnTo>
                  <a:pt x="9486" y="618"/>
                </a:lnTo>
                <a:lnTo>
                  <a:pt x="9482" y="636"/>
                </a:lnTo>
                <a:lnTo>
                  <a:pt x="9477" y="654"/>
                </a:lnTo>
                <a:lnTo>
                  <a:pt x="9471" y="671"/>
                </a:lnTo>
                <a:lnTo>
                  <a:pt x="9463" y="688"/>
                </a:lnTo>
                <a:lnTo>
                  <a:pt x="9455" y="704"/>
                </a:lnTo>
                <a:lnTo>
                  <a:pt x="9446" y="719"/>
                </a:lnTo>
                <a:lnTo>
                  <a:pt x="9441" y="726"/>
                </a:lnTo>
                <a:lnTo>
                  <a:pt x="9436" y="732"/>
                </a:lnTo>
                <a:lnTo>
                  <a:pt x="9430" y="738"/>
                </a:lnTo>
                <a:lnTo>
                  <a:pt x="9424" y="744"/>
                </a:lnTo>
                <a:lnTo>
                  <a:pt x="9417" y="749"/>
                </a:lnTo>
                <a:lnTo>
                  <a:pt x="9411" y="753"/>
                </a:lnTo>
                <a:lnTo>
                  <a:pt x="9403" y="757"/>
                </a:lnTo>
                <a:lnTo>
                  <a:pt x="9396" y="761"/>
                </a:lnTo>
                <a:lnTo>
                  <a:pt x="9388" y="763"/>
                </a:lnTo>
                <a:lnTo>
                  <a:pt x="9380" y="765"/>
                </a:lnTo>
                <a:lnTo>
                  <a:pt x="9371" y="766"/>
                </a:lnTo>
                <a:lnTo>
                  <a:pt x="9362" y="767"/>
                </a:lnTo>
                <a:lnTo>
                  <a:pt x="9353" y="766"/>
                </a:lnTo>
                <a:lnTo>
                  <a:pt x="9345" y="765"/>
                </a:lnTo>
                <a:lnTo>
                  <a:pt x="9337" y="763"/>
                </a:lnTo>
                <a:lnTo>
                  <a:pt x="9330" y="761"/>
                </a:lnTo>
                <a:lnTo>
                  <a:pt x="9323" y="758"/>
                </a:lnTo>
                <a:lnTo>
                  <a:pt x="9316" y="754"/>
                </a:lnTo>
                <a:lnTo>
                  <a:pt x="9310" y="750"/>
                </a:lnTo>
                <a:lnTo>
                  <a:pt x="9304" y="745"/>
                </a:lnTo>
                <a:lnTo>
                  <a:pt x="9299" y="740"/>
                </a:lnTo>
                <a:lnTo>
                  <a:pt x="9294" y="735"/>
                </a:lnTo>
                <a:lnTo>
                  <a:pt x="9289" y="729"/>
                </a:lnTo>
                <a:lnTo>
                  <a:pt x="9285" y="722"/>
                </a:lnTo>
                <a:lnTo>
                  <a:pt x="9278" y="708"/>
                </a:lnTo>
                <a:lnTo>
                  <a:pt x="9271" y="693"/>
                </a:lnTo>
                <a:lnTo>
                  <a:pt x="9266" y="677"/>
                </a:lnTo>
                <a:lnTo>
                  <a:pt x="9262" y="661"/>
                </a:lnTo>
                <a:lnTo>
                  <a:pt x="9258" y="645"/>
                </a:lnTo>
                <a:lnTo>
                  <a:pt x="9256" y="628"/>
                </a:lnTo>
                <a:lnTo>
                  <a:pt x="9253" y="596"/>
                </a:lnTo>
                <a:lnTo>
                  <a:pt x="9252" y="567"/>
                </a:lnTo>
                <a:lnTo>
                  <a:pt x="9253" y="537"/>
                </a:lnTo>
                <a:lnTo>
                  <a:pt x="9256" y="502"/>
                </a:lnTo>
                <a:lnTo>
                  <a:pt x="9259" y="484"/>
                </a:lnTo>
                <a:lnTo>
                  <a:pt x="9262" y="466"/>
                </a:lnTo>
                <a:lnTo>
                  <a:pt x="9266" y="447"/>
                </a:lnTo>
                <a:lnTo>
                  <a:pt x="9272" y="429"/>
                </a:lnTo>
                <a:lnTo>
                  <a:pt x="9278" y="412"/>
                </a:lnTo>
                <a:lnTo>
                  <a:pt x="9286" y="397"/>
                </a:lnTo>
                <a:lnTo>
                  <a:pt x="9290" y="389"/>
                </a:lnTo>
                <a:lnTo>
                  <a:pt x="9295" y="382"/>
                </a:lnTo>
                <a:lnTo>
                  <a:pt x="9300" y="376"/>
                </a:lnTo>
                <a:lnTo>
                  <a:pt x="9305" y="370"/>
                </a:lnTo>
                <a:lnTo>
                  <a:pt x="9311" y="364"/>
                </a:lnTo>
                <a:lnTo>
                  <a:pt x="9318" y="359"/>
                </a:lnTo>
                <a:lnTo>
                  <a:pt x="9324" y="355"/>
                </a:lnTo>
                <a:lnTo>
                  <a:pt x="9331" y="352"/>
                </a:lnTo>
                <a:lnTo>
                  <a:pt x="9339" y="349"/>
                </a:lnTo>
                <a:lnTo>
                  <a:pt x="9347" y="347"/>
                </a:lnTo>
                <a:lnTo>
                  <a:pt x="9355" y="345"/>
                </a:lnTo>
                <a:lnTo>
                  <a:pt x="9364" y="345"/>
                </a:lnTo>
                <a:close/>
                <a:moveTo>
                  <a:pt x="8851" y="844"/>
                </a:moveTo>
                <a:lnTo>
                  <a:pt x="8866" y="844"/>
                </a:lnTo>
                <a:lnTo>
                  <a:pt x="8881" y="843"/>
                </a:lnTo>
                <a:lnTo>
                  <a:pt x="8895" y="841"/>
                </a:lnTo>
                <a:lnTo>
                  <a:pt x="8909" y="838"/>
                </a:lnTo>
                <a:lnTo>
                  <a:pt x="8921" y="835"/>
                </a:lnTo>
                <a:lnTo>
                  <a:pt x="8934" y="831"/>
                </a:lnTo>
                <a:lnTo>
                  <a:pt x="8945" y="826"/>
                </a:lnTo>
                <a:lnTo>
                  <a:pt x="8956" y="821"/>
                </a:lnTo>
                <a:lnTo>
                  <a:pt x="8967" y="814"/>
                </a:lnTo>
                <a:lnTo>
                  <a:pt x="8977" y="808"/>
                </a:lnTo>
                <a:lnTo>
                  <a:pt x="8986" y="801"/>
                </a:lnTo>
                <a:lnTo>
                  <a:pt x="8995" y="793"/>
                </a:lnTo>
                <a:lnTo>
                  <a:pt x="9003" y="785"/>
                </a:lnTo>
                <a:lnTo>
                  <a:pt x="9011" y="777"/>
                </a:lnTo>
                <a:lnTo>
                  <a:pt x="9018" y="768"/>
                </a:lnTo>
                <a:lnTo>
                  <a:pt x="9025" y="758"/>
                </a:lnTo>
                <a:lnTo>
                  <a:pt x="9031" y="748"/>
                </a:lnTo>
                <a:lnTo>
                  <a:pt x="9037" y="738"/>
                </a:lnTo>
                <a:lnTo>
                  <a:pt x="9042" y="727"/>
                </a:lnTo>
                <a:lnTo>
                  <a:pt x="9047" y="716"/>
                </a:lnTo>
                <a:lnTo>
                  <a:pt x="9055" y="693"/>
                </a:lnTo>
                <a:lnTo>
                  <a:pt x="9062" y="668"/>
                </a:lnTo>
                <a:lnTo>
                  <a:pt x="9067" y="643"/>
                </a:lnTo>
                <a:lnTo>
                  <a:pt x="9070" y="617"/>
                </a:lnTo>
                <a:lnTo>
                  <a:pt x="9072" y="590"/>
                </a:lnTo>
                <a:lnTo>
                  <a:pt x="9073" y="563"/>
                </a:lnTo>
                <a:lnTo>
                  <a:pt x="9072" y="536"/>
                </a:lnTo>
                <a:lnTo>
                  <a:pt x="9070" y="509"/>
                </a:lnTo>
                <a:lnTo>
                  <a:pt x="9067" y="483"/>
                </a:lnTo>
                <a:lnTo>
                  <a:pt x="9062" y="457"/>
                </a:lnTo>
                <a:lnTo>
                  <a:pt x="9055" y="433"/>
                </a:lnTo>
                <a:lnTo>
                  <a:pt x="9047" y="410"/>
                </a:lnTo>
                <a:lnTo>
                  <a:pt x="9042" y="398"/>
                </a:lnTo>
                <a:lnTo>
                  <a:pt x="9037" y="388"/>
                </a:lnTo>
                <a:lnTo>
                  <a:pt x="9031" y="377"/>
                </a:lnTo>
                <a:lnTo>
                  <a:pt x="9025" y="367"/>
                </a:lnTo>
                <a:lnTo>
                  <a:pt x="9018" y="358"/>
                </a:lnTo>
                <a:lnTo>
                  <a:pt x="9011" y="348"/>
                </a:lnTo>
                <a:lnTo>
                  <a:pt x="9003" y="340"/>
                </a:lnTo>
                <a:lnTo>
                  <a:pt x="8995" y="332"/>
                </a:lnTo>
                <a:lnTo>
                  <a:pt x="8986" y="324"/>
                </a:lnTo>
                <a:lnTo>
                  <a:pt x="8977" y="317"/>
                </a:lnTo>
                <a:lnTo>
                  <a:pt x="8967" y="310"/>
                </a:lnTo>
                <a:lnTo>
                  <a:pt x="8956" y="304"/>
                </a:lnTo>
                <a:lnTo>
                  <a:pt x="8945" y="299"/>
                </a:lnTo>
                <a:lnTo>
                  <a:pt x="8934" y="294"/>
                </a:lnTo>
                <a:lnTo>
                  <a:pt x="8921" y="290"/>
                </a:lnTo>
                <a:lnTo>
                  <a:pt x="8909" y="287"/>
                </a:lnTo>
                <a:lnTo>
                  <a:pt x="8895" y="284"/>
                </a:lnTo>
                <a:lnTo>
                  <a:pt x="8881" y="282"/>
                </a:lnTo>
                <a:lnTo>
                  <a:pt x="8866" y="281"/>
                </a:lnTo>
                <a:lnTo>
                  <a:pt x="8851" y="281"/>
                </a:lnTo>
                <a:lnTo>
                  <a:pt x="8836" y="281"/>
                </a:lnTo>
                <a:lnTo>
                  <a:pt x="8820" y="282"/>
                </a:lnTo>
                <a:lnTo>
                  <a:pt x="8806" y="284"/>
                </a:lnTo>
                <a:lnTo>
                  <a:pt x="8793" y="287"/>
                </a:lnTo>
                <a:lnTo>
                  <a:pt x="8780" y="290"/>
                </a:lnTo>
                <a:lnTo>
                  <a:pt x="8768" y="294"/>
                </a:lnTo>
                <a:lnTo>
                  <a:pt x="8756" y="299"/>
                </a:lnTo>
                <a:lnTo>
                  <a:pt x="8746" y="304"/>
                </a:lnTo>
                <a:lnTo>
                  <a:pt x="8735" y="310"/>
                </a:lnTo>
                <a:lnTo>
                  <a:pt x="8725" y="317"/>
                </a:lnTo>
                <a:lnTo>
                  <a:pt x="8716" y="324"/>
                </a:lnTo>
                <a:lnTo>
                  <a:pt x="8707" y="332"/>
                </a:lnTo>
                <a:lnTo>
                  <a:pt x="8699" y="340"/>
                </a:lnTo>
                <a:lnTo>
                  <a:pt x="8692" y="349"/>
                </a:lnTo>
                <a:lnTo>
                  <a:pt x="8685" y="358"/>
                </a:lnTo>
                <a:lnTo>
                  <a:pt x="8678" y="368"/>
                </a:lnTo>
                <a:lnTo>
                  <a:pt x="8672" y="378"/>
                </a:lnTo>
                <a:lnTo>
                  <a:pt x="8666" y="388"/>
                </a:lnTo>
                <a:lnTo>
                  <a:pt x="8661" y="399"/>
                </a:lnTo>
                <a:lnTo>
                  <a:pt x="8656" y="410"/>
                </a:lnTo>
                <a:lnTo>
                  <a:pt x="8648" y="434"/>
                </a:lnTo>
                <a:lnTo>
                  <a:pt x="8641" y="458"/>
                </a:lnTo>
                <a:lnTo>
                  <a:pt x="8637" y="483"/>
                </a:lnTo>
                <a:lnTo>
                  <a:pt x="8633" y="509"/>
                </a:lnTo>
                <a:lnTo>
                  <a:pt x="8631" y="536"/>
                </a:lnTo>
                <a:lnTo>
                  <a:pt x="8631" y="563"/>
                </a:lnTo>
                <a:lnTo>
                  <a:pt x="8631" y="590"/>
                </a:lnTo>
                <a:lnTo>
                  <a:pt x="8633" y="617"/>
                </a:lnTo>
                <a:lnTo>
                  <a:pt x="8637" y="643"/>
                </a:lnTo>
                <a:lnTo>
                  <a:pt x="8641" y="668"/>
                </a:lnTo>
                <a:lnTo>
                  <a:pt x="8648" y="692"/>
                </a:lnTo>
                <a:lnTo>
                  <a:pt x="8656" y="715"/>
                </a:lnTo>
                <a:lnTo>
                  <a:pt x="8661" y="727"/>
                </a:lnTo>
                <a:lnTo>
                  <a:pt x="8666" y="737"/>
                </a:lnTo>
                <a:lnTo>
                  <a:pt x="8672" y="748"/>
                </a:lnTo>
                <a:lnTo>
                  <a:pt x="8678" y="758"/>
                </a:lnTo>
                <a:lnTo>
                  <a:pt x="8685" y="767"/>
                </a:lnTo>
                <a:lnTo>
                  <a:pt x="8692" y="776"/>
                </a:lnTo>
                <a:lnTo>
                  <a:pt x="8699" y="785"/>
                </a:lnTo>
                <a:lnTo>
                  <a:pt x="8707" y="793"/>
                </a:lnTo>
                <a:lnTo>
                  <a:pt x="8716" y="801"/>
                </a:lnTo>
                <a:lnTo>
                  <a:pt x="8725" y="808"/>
                </a:lnTo>
                <a:lnTo>
                  <a:pt x="8735" y="814"/>
                </a:lnTo>
                <a:lnTo>
                  <a:pt x="8746" y="821"/>
                </a:lnTo>
                <a:lnTo>
                  <a:pt x="8756" y="826"/>
                </a:lnTo>
                <a:lnTo>
                  <a:pt x="8768" y="831"/>
                </a:lnTo>
                <a:lnTo>
                  <a:pt x="8780" y="835"/>
                </a:lnTo>
                <a:lnTo>
                  <a:pt x="8793" y="838"/>
                </a:lnTo>
                <a:lnTo>
                  <a:pt x="8806" y="841"/>
                </a:lnTo>
                <a:lnTo>
                  <a:pt x="8820" y="843"/>
                </a:lnTo>
                <a:lnTo>
                  <a:pt x="8836" y="844"/>
                </a:lnTo>
                <a:lnTo>
                  <a:pt x="8851" y="844"/>
                </a:lnTo>
                <a:close/>
                <a:moveTo>
                  <a:pt x="8851" y="345"/>
                </a:moveTo>
                <a:lnTo>
                  <a:pt x="8861" y="345"/>
                </a:lnTo>
                <a:lnTo>
                  <a:pt x="8871" y="346"/>
                </a:lnTo>
                <a:lnTo>
                  <a:pt x="8880" y="348"/>
                </a:lnTo>
                <a:lnTo>
                  <a:pt x="8889" y="351"/>
                </a:lnTo>
                <a:lnTo>
                  <a:pt x="8897" y="354"/>
                </a:lnTo>
                <a:lnTo>
                  <a:pt x="8905" y="358"/>
                </a:lnTo>
                <a:lnTo>
                  <a:pt x="8912" y="362"/>
                </a:lnTo>
                <a:lnTo>
                  <a:pt x="8919" y="367"/>
                </a:lnTo>
                <a:lnTo>
                  <a:pt x="8925" y="372"/>
                </a:lnTo>
                <a:lnTo>
                  <a:pt x="8932" y="378"/>
                </a:lnTo>
                <a:lnTo>
                  <a:pt x="8937" y="384"/>
                </a:lnTo>
                <a:lnTo>
                  <a:pt x="8942" y="391"/>
                </a:lnTo>
                <a:lnTo>
                  <a:pt x="8952" y="405"/>
                </a:lnTo>
                <a:lnTo>
                  <a:pt x="8960" y="421"/>
                </a:lnTo>
                <a:lnTo>
                  <a:pt x="8966" y="438"/>
                </a:lnTo>
                <a:lnTo>
                  <a:pt x="8972" y="455"/>
                </a:lnTo>
                <a:lnTo>
                  <a:pt x="8976" y="473"/>
                </a:lnTo>
                <a:lnTo>
                  <a:pt x="8979" y="491"/>
                </a:lnTo>
                <a:lnTo>
                  <a:pt x="8982" y="510"/>
                </a:lnTo>
                <a:lnTo>
                  <a:pt x="8983" y="528"/>
                </a:lnTo>
                <a:lnTo>
                  <a:pt x="8984" y="545"/>
                </a:lnTo>
                <a:lnTo>
                  <a:pt x="8984" y="562"/>
                </a:lnTo>
                <a:lnTo>
                  <a:pt x="8984" y="579"/>
                </a:lnTo>
                <a:lnTo>
                  <a:pt x="8983" y="596"/>
                </a:lnTo>
                <a:lnTo>
                  <a:pt x="8982" y="614"/>
                </a:lnTo>
                <a:lnTo>
                  <a:pt x="8980" y="633"/>
                </a:lnTo>
                <a:lnTo>
                  <a:pt x="8976" y="651"/>
                </a:lnTo>
                <a:lnTo>
                  <a:pt x="8972" y="669"/>
                </a:lnTo>
                <a:lnTo>
                  <a:pt x="8967" y="686"/>
                </a:lnTo>
                <a:lnTo>
                  <a:pt x="8960" y="703"/>
                </a:lnTo>
                <a:lnTo>
                  <a:pt x="8952" y="719"/>
                </a:lnTo>
                <a:lnTo>
                  <a:pt x="8943" y="733"/>
                </a:lnTo>
                <a:lnTo>
                  <a:pt x="8938" y="740"/>
                </a:lnTo>
                <a:lnTo>
                  <a:pt x="8932" y="746"/>
                </a:lnTo>
                <a:lnTo>
                  <a:pt x="8926" y="752"/>
                </a:lnTo>
                <a:lnTo>
                  <a:pt x="8920" y="757"/>
                </a:lnTo>
                <a:lnTo>
                  <a:pt x="8913" y="762"/>
                </a:lnTo>
                <a:lnTo>
                  <a:pt x="8905" y="767"/>
                </a:lnTo>
                <a:lnTo>
                  <a:pt x="8897" y="770"/>
                </a:lnTo>
                <a:lnTo>
                  <a:pt x="8889" y="773"/>
                </a:lnTo>
                <a:lnTo>
                  <a:pt x="8880" y="776"/>
                </a:lnTo>
                <a:lnTo>
                  <a:pt x="8871" y="778"/>
                </a:lnTo>
                <a:lnTo>
                  <a:pt x="8861" y="779"/>
                </a:lnTo>
                <a:lnTo>
                  <a:pt x="8851" y="779"/>
                </a:lnTo>
                <a:lnTo>
                  <a:pt x="8841" y="779"/>
                </a:lnTo>
                <a:lnTo>
                  <a:pt x="8831" y="778"/>
                </a:lnTo>
                <a:lnTo>
                  <a:pt x="8821" y="776"/>
                </a:lnTo>
                <a:lnTo>
                  <a:pt x="8812" y="773"/>
                </a:lnTo>
                <a:lnTo>
                  <a:pt x="8804" y="770"/>
                </a:lnTo>
                <a:lnTo>
                  <a:pt x="8796" y="766"/>
                </a:lnTo>
                <a:lnTo>
                  <a:pt x="8789" y="762"/>
                </a:lnTo>
                <a:lnTo>
                  <a:pt x="8782" y="757"/>
                </a:lnTo>
                <a:lnTo>
                  <a:pt x="8776" y="752"/>
                </a:lnTo>
                <a:lnTo>
                  <a:pt x="8770" y="746"/>
                </a:lnTo>
                <a:lnTo>
                  <a:pt x="8764" y="740"/>
                </a:lnTo>
                <a:lnTo>
                  <a:pt x="8759" y="733"/>
                </a:lnTo>
                <a:lnTo>
                  <a:pt x="8750" y="719"/>
                </a:lnTo>
                <a:lnTo>
                  <a:pt x="8742" y="703"/>
                </a:lnTo>
                <a:lnTo>
                  <a:pt x="8736" y="686"/>
                </a:lnTo>
                <a:lnTo>
                  <a:pt x="8731" y="668"/>
                </a:lnTo>
                <a:lnTo>
                  <a:pt x="8727" y="650"/>
                </a:lnTo>
                <a:lnTo>
                  <a:pt x="8724" y="632"/>
                </a:lnTo>
                <a:lnTo>
                  <a:pt x="8721" y="614"/>
                </a:lnTo>
                <a:lnTo>
                  <a:pt x="8720" y="596"/>
                </a:lnTo>
                <a:lnTo>
                  <a:pt x="8719" y="579"/>
                </a:lnTo>
                <a:lnTo>
                  <a:pt x="8719" y="562"/>
                </a:lnTo>
                <a:lnTo>
                  <a:pt x="8719" y="545"/>
                </a:lnTo>
                <a:lnTo>
                  <a:pt x="8720" y="528"/>
                </a:lnTo>
                <a:lnTo>
                  <a:pt x="8721" y="510"/>
                </a:lnTo>
                <a:lnTo>
                  <a:pt x="8724" y="492"/>
                </a:lnTo>
                <a:lnTo>
                  <a:pt x="8727" y="474"/>
                </a:lnTo>
                <a:lnTo>
                  <a:pt x="8731" y="456"/>
                </a:lnTo>
                <a:lnTo>
                  <a:pt x="8736" y="438"/>
                </a:lnTo>
                <a:lnTo>
                  <a:pt x="8742" y="421"/>
                </a:lnTo>
                <a:lnTo>
                  <a:pt x="8750" y="405"/>
                </a:lnTo>
                <a:lnTo>
                  <a:pt x="8759" y="391"/>
                </a:lnTo>
                <a:lnTo>
                  <a:pt x="8764" y="384"/>
                </a:lnTo>
                <a:lnTo>
                  <a:pt x="8770" y="378"/>
                </a:lnTo>
                <a:lnTo>
                  <a:pt x="8776" y="372"/>
                </a:lnTo>
                <a:lnTo>
                  <a:pt x="8782" y="367"/>
                </a:lnTo>
                <a:lnTo>
                  <a:pt x="8789" y="362"/>
                </a:lnTo>
                <a:lnTo>
                  <a:pt x="8796" y="358"/>
                </a:lnTo>
                <a:lnTo>
                  <a:pt x="8804" y="354"/>
                </a:lnTo>
                <a:lnTo>
                  <a:pt x="8812" y="351"/>
                </a:lnTo>
                <a:lnTo>
                  <a:pt x="8821" y="348"/>
                </a:lnTo>
                <a:lnTo>
                  <a:pt x="8831" y="346"/>
                </a:lnTo>
                <a:lnTo>
                  <a:pt x="8841" y="345"/>
                </a:lnTo>
                <a:lnTo>
                  <a:pt x="8851" y="345"/>
                </a:lnTo>
                <a:close/>
                <a:moveTo>
                  <a:pt x="8414" y="832"/>
                </a:moveTo>
                <a:lnTo>
                  <a:pt x="8490" y="832"/>
                </a:lnTo>
                <a:lnTo>
                  <a:pt x="8490" y="50"/>
                </a:lnTo>
                <a:lnTo>
                  <a:pt x="8414" y="50"/>
                </a:lnTo>
                <a:lnTo>
                  <a:pt x="8414" y="832"/>
                </a:lnTo>
                <a:close/>
                <a:moveTo>
                  <a:pt x="8054" y="844"/>
                </a:moveTo>
                <a:lnTo>
                  <a:pt x="8069" y="844"/>
                </a:lnTo>
                <a:lnTo>
                  <a:pt x="8084" y="843"/>
                </a:lnTo>
                <a:lnTo>
                  <a:pt x="8098" y="841"/>
                </a:lnTo>
                <a:lnTo>
                  <a:pt x="8111" y="838"/>
                </a:lnTo>
                <a:lnTo>
                  <a:pt x="8124" y="835"/>
                </a:lnTo>
                <a:lnTo>
                  <a:pt x="8136" y="831"/>
                </a:lnTo>
                <a:lnTo>
                  <a:pt x="8148" y="826"/>
                </a:lnTo>
                <a:lnTo>
                  <a:pt x="8159" y="821"/>
                </a:lnTo>
                <a:lnTo>
                  <a:pt x="8170" y="814"/>
                </a:lnTo>
                <a:lnTo>
                  <a:pt x="8179" y="808"/>
                </a:lnTo>
                <a:lnTo>
                  <a:pt x="8190" y="801"/>
                </a:lnTo>
                <a:lnTo>
                  <a:pt x="8199" y="793"/>
                </a:lnTo>
                <a:lnTo>
                  <a:pt x="8207" y="785"/>
                </a:lnTo>
                <a:lnTo>
                  <a:pt x="8214" y="777"/>
                </a:lnTo>
                <a:lnTo>
                  <a:pt x="8222" y="768"/>
                </a:lnTo>
                <a:lnTo>
                  <a:pt x="8228" y="758"/>
                </a:lnTo>
                <a:lnTo>
                  <a:pt x="8235" y="748"/>
                </a:lnTo>
                <a:lnTo>
                  <a:pt x="8240" y="738"/>
                </a:lnTo>
                <a:lnTo>
                  <a:pt x="8246" y="727"/>
                </a:lnTo>
                <a:lnTo>
                  <a:pt x="8250" y="716"/>
                </a:lnTo>
                <a:lnTo>
                  <a:pt x="8259" y="693"/>
                </a:lnTo>
                <a:lnTo>
                  <a:pt x="8265" y="668"/>
                </a:lnTo>
                <a:lnTo>
                  <a:pt x="8270" y="643"/>
                </a:lnTo>
                <a:lnTo>
                  <a:pt x="8274" y="617"/>
                </a:lnTo>
                <a:lnTo>
                  <a:pt x="8276" y="590"/>
                </a:lnTo>
                <a:lnTo>
                  <a:pt x="8277" y="563"/>
                </a:lnTo>
                <a:lnTo>
                  <a:pt x="8276" y="536"/>
                </a:lnTo>
                <a:lnTo>
                  <a:pt x="8274" y="509"/>
                </a:lnTo>
                <a:lnTo>
                  <a:pt x="8270" y="483"/>
                </a:lnTo>
                <a:lnTo>
                  <a:pt x="8265" y="457"/>
                </a:lnTo>
                <a:lnTo>
                  <a:pt x="8259" y="433"/>
                </a:lnTo>
                <a:lnTo>
                  <a:pt x="8250" y="410"/>
                </a:lnTo>
                <a:lnTo>
                  <a:pt x="8246" y="398"/>
                </a:lnTo>
                <a:lnTo>
                  <a:pt x="8240" y="388"/>
                </a:lnTo>
                <a:lnTo>
                  <a:pt x="8235" y="377"/>
                </a:lnTo>
                <a:lnTo>
                  <a:pt x="8228" y="367"/>
                </a:lnTo>
                <a:lnTo>
                  <a:pt x="8222" y="358"/>
                </a:lnTo>
                <a:lnTo>
                  <a:pt x="8214" y="348"/>
                </a:lnTo>
                <a:lnTo>
                  <a:pt x="8207" y="340"/>
                </a:lnTo>
                <a:lnTo>
                  <a:pt x="8199" y="332"/>
                </a:lnTo>
                <a:lnTo>
                  <a:pt x="8190" y="324"/>
                </a:lnTo>
                <a:lnTo>
                  <a:pt x="8179" y="317"/>
                </a:lnTo>
                <a:lnTo>
                  <a:pt x="8170" y="310"/>
                </a:lnTo>
                <a:lnTo>
                  <a:pt x="8159" y="304"/>
                </a:lnTo>
                <a:lnTo>
                  <a:pt x="8148" y="299"/>
                </a:lnTo>
                <a:lnTo>
                  <a:pt x="8136" y="294"/>
                </a:lnTo>
                <a:lnTo>
                  <a:pt x="8124" y="290"/>
                </a:lnTo>
                <a:lnTo>
                  <a:pt x="8111" y="287"/>
                </a:lnTo>
                <a:lnTo>
                  <a:pt x="8098" y="284"/>
                </a:lnTo>
                <a:lnTo>
                  <a:pt x="8084" y="282"/>
                </a:lnTo>
                <a:lnTo>
                  <a:pt x="8069" y="281"/>
                </a:lnTo>
                <a:lnTo>
                  <a:pt x="8054" y="281"/>
                </a:lnTo>
                <a:lnTo>
                  <a:pt x="8039" y="281"/>
                </a:lnTo>
                <a:lnTo>
                  <a:pt x="8024" y="282"/>
                </a:lnTo>
                <a:lnTo>
                  <a:pt x="8010" y="284"/>
                </a:lnTo>
                <a:lnTo>
                  <a:pt x="7997" y="287"/>
                </a:lnTo>
                <a:lnTo>
                  <a:pt x="7984" y="290"/>
                </a:lnTo>
                <a:lnTo>
                  <a:pt x="7972" y="294"/>
                </a:lnTo>
                <a:lnTo>
                  <a:pt x="7960" y="299"/>
                </a:lnTo>
                <a:lnTo>
                  <a:pt x="7949" y="304"/>
                </a:lnTo>
                <a:lnTo>
                  <a:pt x="7939" y="310"/>
                </a:lnTo>
                <a:lnTo>
                  <a:pt x="7929" y="317"/>
                </a:lnTo>
                <a:lnTo>
                  <a:pt x="7920" y="324"/>
                </a:lnTo>
                <a:lnTo>
                  <a:pt x="7911" y="332"/>
                </a:lnTo>
                <a:lnTo>
                  <a:pt x="7903" y="340"/>
                </a:lnTo>
                <a:lnTo>
                  <a:pt x="7896" y="349"/>
                </a:lnTo>
                <a:lnTo>
                  <a:pt x="7888" y="358"/>
                </a:lnTo>
                <a:lnTo>
                  <a:pt x="7882" y="368"/>
                </a:lnTo>
                <a:lnTo>
                  <a:pt x="7876" y="378"/>
                </a:lnTo>
                <a:lnTo>
                  <a:pt x="7870" y="388"/>
                </a:lnTo>
                <a:lnTo>
                  <a:pt x="7865" y="399"/>
                </a:lnTo>
                <a:lnTo>
                  <a:pt x="7859" y="410"/>
                </a:lnTo>
                <a:lnTo>
                  <a:pt x="7851" y="434"/>
                </a:lnTo>
                <a:lnTo>
                  <a:pt x="7844" y="458"/>
                </a:lnTo>
                <a:lnTo>
                  <a:pt x="7839" y="483"/>
                </a:lnTo>
                <a:lnTo>
                  <a:pt x="7836" y="509"/>
                </a:lnTo>
                <a:lnTo>
                  <a:pt x="7834" y="536"/>
                </a:lnTo>
                <a:lnTo>
                  <a:pt x="7833" y="563"/>
                </a:lnTo>
                <a:lnTo>
                  <a:pt x="7834" y="590"/>
                </a:lnTo>
                <a:lnTo>
                  <a:pt x="7836" y="617"/>
                </a:lnTo>
                <a:lnTo>
                  <a:pt x="7839" y="643"/>
                </a:lnTo>
                <a:lnTo>
                  <a:pt x="7844" y="668"/>
                </a:lnTo>
                <a:lnTo>
                  <a:pt x="7851" y="692"/>
                </a:lnTo>
                <a:lnTo>
                  <a:pt x="7859" y="715"/>
                </a:lnTo>
                <a:lnTo>
                  <a:pt x="7865" y="727"/>
                </a:lnTo>
                <a:lnTo>
                  <a:pt x="7870" y="737"/>
                </a:lnTo>
                <a:lnTo>
                  <a:pt x="7876" y="748"/>
                </a:lnTo>
                <a:lnTo>
                  <a:pt x="7882" y="758"/>
                </a:lnTo>
                <a:lnTo>
                  <a:pt x="7888" y="767"/>
                </a:lnTo>
                <a:lnTo>
                  <a:pt x="7896" y="776"/>
                </a:lnTo>
                <a:lnTo>
                  <a:pt x="7903" y="785"/>
                </a:lnTo>
                <a:lnTo>
                  <a:pt x="7911" y="793"/>
                </a:lnTo>
                <a:lnTo>
                  <a:pt x="7920" y="801"/>
                </a:lnTo>
                <a:lnTo>
                  <a:pt x="7929" y="808"/>
                </a:lnTo>
                <a:lnTo>
                  <a:pt x="7939" y="814"/>
                </a:lnTo>
                <a:lnTo>
                  <a:pt x="7949" y="821"/>
                </a:lnTo>
                <a:lnTo>
                  <a:pt x="7960" y="826"/>
                </a:lnTo>
                <a:lnTo>
                  <a:pt x="7972" y="831"/>
                </a:lnTo>
                <a:lnTo>
                  <a:pt x="7984" y="835"/>
                </a:lnTo>
                <a:lnTo>
                  <a:pt x="7997" y="838"/>
                </a:lnTo>
                <a:lnTo>
                  <a:pt x="8010" y="841"/>
                </a:lnTo>
                <a:lnTo>
                  <a:pt x="8024" y="843"/>
                </a:lnTo>
                <a:lnTo>
                  <a:pt x="8039" y="844"/>
                </a:lnTo>
                <a:lnTo>
                  <a:pt x="8054" y="844"/>
                </a:lnTo>
                <a:close/>
                <a:moveTo>
                  <a:pt x="8054" y="345"/>
                </a:moveTo>
                <a:lnTo>
                  <a:pt x="8064" y="345"/>
                </a:lnTo>
                <a:lnTo>
                  <a:pt x="8074" y="346"/>
                </a:lnTo>
                <a:lnTo>
                  <a:pt x="8083" y="348"/>
                </a:lnTo>
                <a:lnTo>
                  <a:pt x="8092" y="351"/>
                </a:lnTo>
                <a:lnTo>
                  <a:pt x="8100" y="354"/>
                </a:lnTo>
                <a:lnTo>
                  <a:pt x="8108" y="358"/>
                </a:lnTo>
                <a:lnTo>
                  <a:pt x="8115" y="362"/>
                </a:lnTo>
                <a:lnTo>
                  <a:pt x="8122" y="367"/>
                </a:lnTo>
                <a:lnTo>
                  <a:pt x="8128" y="372"/>
                </a:lnTo>
                <a:lnTo>
                  <a:pt x="8134" y="378"/>
                </a:lnTo>
                <a:lnTo>
                  <a:pt x="8140" y="384"/>
                </a:lnTo>
                <a:lnTo>
                  <a:pt x="8145" y="391"/>
                </a:lnTo>
                <a:lnTo>
                  <a:pt x="8155" y="405"/>
                </a:lnTo>
                <a:lnTo>
                  <a:pt x="8163" y="421"/>
                </a:lnTo>
                <a:lnTo>
                  <a:pt x="8169" y="438"/>
                </a:lnTo>
                <a:lnTo>
                  <a:pt x="8175" y="455"/>
                </a:lnTo>
                <a:lnTo>
                  <a:pt x="8179" y="473"/>
                </a:lnTo>
                <a:lnTo>
                  <a:pt x="8182" y="491"/>
                </a:lnTo>
                <a:lnTo>
                  <a:pt x="8186" y="510"/>
                </a:lnTo>
                <a:lnTo>
                  <a:pt x="8187" y="528"/>
                </a:lnTo>
                <a:lnTo>
                  <a:pt x="8188" y="545"/>
                </a:lnTo>
                <a:lnTo>
                  <a:pt x="8188" y="562"/>
                </a:lnTo>
                <a:lnTo>
                  <a:pt x="8188" y="579"/>
                </a:lnTo>
                <a:lnTo>
                  <a:pt x="8187" y="596"/>
                </a:lnTo>
                <a:lnTo>
                  <a:pt x="8186" y="614"/>
                </a:lnTo>
                <a:lnTo>
                  <a:pt x="8182" y="633"/>
                </a:lnTo>
                <a:lnTo>
                  <a:pt x="8179" y="651"/>
                </a:lnTo>
                <a:lnTo>
                  <a:pt x="8175" y="669"/>
                </a:lnTo>
                <a:lnTo>
                  <a:pt x="8169" y="686"/>
                </a:lnTo>
                <a:lnTo>
                  <a:pt x="8163" y="703"/>
                </a:lnTo>
                <a:lnTo>
                  <a:pt x="8155" y="719"/>
                </a:lnTo>
                <a:lnTo>
                  <a:pt x="8146" y="733"/>
                </a:lnTo>
                <a:lnTo>
                  <a:pt x="8140" y="740"/>
                </a:lnTo>
                <a:lnTo>
                  <a:pt x="8135" y="746"/>
                </a:lnTo>
                <a:lnTo>
                  <a:pt x="8129" y="752"/>
                </a:lnTo>
                <a:lnTo>
                  <a:pt x="8122" y="757"/>
                </a:lnTo>
                <a:lnTo>
                  <a:pt x="8115" y="762"/>
                </a:lnTo>
                <a:lnTo>
                  <a:pt x="8108" y="767"/>
                </a:lnTo>
                <a:lnTo>
                  <a:pt x="8100" y="770"/>
                </a:lnTo>
                <a:lnTo>
                  <a:pt x="8092" y="773"/>
                </a:lnTo>
                <a:lnTo>
                  <a:pt x="8083" y="776"/>
                </a:lnTo>
                <a:lnTo>
                  <a:pt x="8074" y="778"/>
                </a:lnTo>
                <a:lnTo>
                  <a:pt x="8064" y="779"/>
                </a:lnTo>
                <a:lnTo>
                  <a:pt x="8054" y="779"/>
                </a:lnTo>
                <a:lnTo>
                  <a:pt x="8044" y="779"/>
                </a:lnTo>
                <a:lnTo>
                  <a:pt x="8034" y="778"/>
                </a:lnTo>
                <a:lnTo>
                  <a:pt x="8025" y="776"/>
                </a:lnTo>
                <a:lnTo>
                  <a:pt x="8016" y="773"/>
                </a:lnTo>
                <a:lnTo>
                  <a:pt x="8008" y="770"/>
                </a:lnTo>
                <a:lnTo>
                  <a:pt x="8000" y="766"/>
                </a:lnTo>
                <a:lnTo>
                  <a:pt x="7993" y="762"/>
                </a:lnTo>
                <a:lnTo>
                  <a:pt x="7986" y="757"/>
                </a:lnTo>
                <a:lnTo>
                  <a:pt x="7980" y="752"/>
                </a:lnTo>
                <a:lnTo>
                  <a:pt x="7974" y="746"/>
                </a:lnTo>
                <a:lnTo>
                  <a:pt x="7968" y="740"/>
                </a:lnTo>
                <a:lnTo>
                  <a:pt x="7963" y="733"/>
                </a:lnTo>
                <a:lnTo>
                  <a:pt x="7954" y="719"/>
                </a:lnTo>
                <a:lnTo>
                  <a:pt x="7946" y="703"/>
                </a:lnTo>
                <a:lnTo>
                  <a:pt x="7940" y="686"/>
                </a:lnTo>
                <a:lnTo>
                  <a:pt x="7935" y="668"/>
                </a:lnTo>
                <a:lnTo>
                  <a:pt x="7930" y="650"/>
                </a:lnTo>
                <a:lnTo>
                  <a:pt x="7927" y="632"/>
                </a:lnTo>
                <a:lnTo>
                  <a:pt x="7925" y="614"/>
                </a:lnTo>
                <a:lnTo>
                  <a:pt x="7924" y="596"/>
                </a:lnTo>
                <a:lnTo>
                  <a:pt x="7923" y="579"/>
                </a:lnTo>
                <a:lnTo>
                  <a:pt x="7923" y="562"/>
                </a:lnTo>
                <a:lnTo>
                  <a:pt x="7923" y="545"/>
                </a:lnTo>
                <a:lnTo>
                  <a:pt x="7924" y="528"/>
                </a:lnTo>
                <a:lnTo>
                  <a:pt x="7925" y="510"/>
                </a:lnTo>
                <a:lnTo>
                  <a:pt x="7927" y="492"/>
                </a:lnTo>
                <a:lnTo>
                  <a:pt x="7930" y="474"/>
                </a:lnTo>
                <a:lnTo>
                  <a:pt x="7935" y="456"/>
                </a:lnTo>
                <a:lnTo>
                  <a:pt x="7940" y="438"/>
                </a:lnTo>
                <a:lnTo>
                  <a:pt x="7946" y="421"/>
                </a:lnTo>
                <a:lnTo>
                  <a:pt x="7954" y="405"/>
                </a:lnTo>
                <a:lnTo>
                  <a:pt x="7963" y="391"/>
                </a:lnTo>
                <a:lnTo>
                  <a:pt x="7968" y="384"/>
                </a:lnTo>
                <a:lnTo>
                  <a:pt x="7974" y="378"/>
                </a:lnTo>
                <a:lnTo>
                  <a:pt x="7980" y="372"/>
                </a:lnTo>
                <a:lnTo>
                  <a:pt x="7986" y="367"/>
                </a:lnTo>
                <a:lnTo>
                  <a:pt x="7993" y="362"/>
                </a:lnTo>
                <a:lnTo>
                  <a:pt x="8000" y="358"/>
                </a:lnTo>
                <a:lnTo>
                  <a:pt x="8008" y="354"/>
                </a:lnTo>
                <a:lnTo>
                  <a:pt x="8016" y="351"/>
                </a:lnTo>
                <a:lnTo>
                  <a:pt x="8025" y="348"/>
                </a:lnTo>
                <a:lnTo>
                  <a:pt x="8034" y="346"/>
                </a:lnTo>
                <a:lnTo>
                  <a:pt x="8044" y="345"/>
                </a:lnTo>
                <a:lnTo>
                  <a:pt x="8054" y="345"/>
                </a:lnTo>
                <a:close/>
                <a:moveTo>
                  <a:pt x="7626" y="832"/>
                </a:moveTo>
                <a:lnTo>
                  <a:pt x="7703" y="832"/>
                </a:lnTo>
                <a:lnTo>
                  <a:pt x="7703" y="447"/>
                </a:lnTo>
                <a:lnTo>
                  <a:pt x="7703" y="431"/>
                </a:lnTo>
                <a:lnTo>
                  <a:pt x="7701" y="415"/>
                </a:lnTo>
                <a:lnTo>
                  <a:pt x="7699" y="400"/>
                </a:lnTo>
                <a:lnTo>
                  <a:pt x="7695" y="385"/>
                </a:lnTo>
                <a:lnTo>
                  <a:pt x="7690" y="371"/>
                </a:lnTo>
                <a:lnTo>
                  <a:pt x="7685" y="357"/>
                </a:lnTo>
                <a:lnTo>
                  <a:pt x="7678" y="344"/>
                </a:lnTo>
                <a:lnTo>
                  <a:pt x="7670" y="332"/>
                </a:lnTo>
                <a:lnTo>
                  <a:pt x="7661" y="321"/>
                </a:lnTo>
                <a:lnTo>
                  <a:pt x="7651" y="311"/>
                </a:lnTo>
                <a:lnTo>
                  <a:pt x="7639" y="302"/>
                </a:lnTo>
                <a:lnTo>
                  <a:pt x="7627" y="295"/>
                </a:lnTo>
                <a:lnTo>
                  <a:pt x="7613" y="289"/>
                </a:lnTo>
                <a:lnTo>
                  <a:pt x="7598" y="284"/>
                </a:lnTo>
                <a:lnTo>
                  <a:pt x="7582" y="281"/>
                </a:lnTo>
                <a:lnTo>
                  <a:pt x="7565" y="281"/>
                </a:lnTo>
                <a:lnTo>
                  <a:pt x="7548" y="281"/>
                </a:lnTo>
                <a:lnTo>
                  <a:pt x="7531" y="283"/>
                </a:lnTo>
                <a:lnTo>
                  <a:pt x="7516" y="286"/>
                </a:lnTo>
                <a:lnTo>
                  <a:pt x="7502" y="290"/>
                </a:lnTo>
                <a:lnTo>
                  <a:pt x="7489" y="296"/>
                </a:lnTo>
                <a:lnTo>
                  <a:pt x="7477" y="302"/>
                </a:lnTo>
                <a:lnTo>
                  <a:pt x="7465" y="310"/>
                </a:lnTo>
                <a:lnTo>
                  <a:pt x="7455" y="318"/>
                </a:lnTo>
                <a:lnTo>
                  <a:pt x="7445" y="327"/>
                </a:lnTo>
                <a:lnTo>
                  <a:pt x="7436" y="338"/>
                </a:lnTo>
                <a:lnTo>
                  <a:pt x="7428" y="349"/>
                </a:lnTo>
                <a:lnTo>
                  <a:pt x="7420" y="361"/>
                </a:lnTo>
                <a:lnTo>
                  <a:pt x="7413" y="374"/>
                </a:lnTo>
                <a:lnTo>
                  <a:pt x="7407" y="388"/>
                </a:lnTo>
                <a:lnTo>
                  <a:pt x="7401" y="402"/>
                </a:lnTo>
                <a:lnTo>
                  <a:pt x="7396" y="417"/>
                </a:lnTo>
                <a:lnTo>
                  <a:pt x="7393" y="417"/>
                </a:lnTo>
                <a:lnTo>
                  <a:pt x="7393" y="293"/>
                </a:lnTo>
                <a:lnTo>
                  <a:pt x="7317" y="293"/>
                </a:lnTo>
                <a:lnTo>
                  <a:pt x="7317" y="832"/>
                </a:lnTo>
                <a:lnTo>
                  <a:pt x="7393" y="832"/>
                </a:lnTo>
                <a:lnTo>
                  <a:pt x="7393" y="609"/>
                </a:lnTo>
                <a:lnTo>
                  <a:pt x="7394" y="593"/>
                </a:lnTo>
                <a:lnTo>
                  <a:pt x="7396" y="574"/>
                </a:lnTo>
                <a:lnTo>
                  <a:pt x="7398" y="555"/>
                </a:lnTo>
                <a:lnTo>
                  <a:pt x="7402" y="534"/>
                </a:lnTo>
                <a:lnTo>
                  <a:pt x="7407" y="513"/>
                </a:lnTo>
                <a:lnTo>
                  <a:pt x="7413" y="492"/>
                </a:lnTo>
                <a:lnTo>
                  <a:pt x="7421" y="472"/>
                </a:lnTo>
                <a:lnTo>
                  <a:pt x="7430" y="452"/>
                </a:lnTo>
                <a:lnTo>
                  <a:pt x="7439" y="433"/>
                </a:lnTo>
                <a:lnTo>
                  <a:pt x="7451" y="415"/>
                </a:lnTo>
                <a:lnTo>
                  <a:pt x="7457" y="407"/>
                </a:lnTo>
                <a:lnTo>
                  <a:pt x="7463" y="399"/>
                </a:lnTo>
                <a:lnTo>
                  <a:pt x="7470" y="392"/>
                </a:lnTo>
                <a:lnTo>
                  <a:pt x="7477" y="385"/>
                </a:lnTo>
                <a:lnTo>
                  <a:pt x="7484" y="379"/>
                </a:lnTo>
                <a:lnTo>
                  <a:pt x="7492" y="373"/>
                </a:lnTo>
                <a:lnTo>
                  <a:pt x="7500" y="369"/>
                </a:lnTo>
                <a:lnTo>
                  <a:pt x="7509" y="365"/>
                </a:lnTo>
                <a:lnTo>
                  <a:pt x="7518" y="362"/>
                </a:lnTo>
                <a:lnTo>
                  <a:pt x="7527" y="359"/>
                </a:lnTo>
                <a:lnTo>
                  <a:pt x="7536" y="358"/>
                </a:lnTo>
                <a:lnTo>
                  <a:pt x="7547" y="357"/>
                </a:lnTo>
                <a:lnTo>
                  <a:pt x="7555" y="358"/>
                </a:lnTo>
                <a:lnTo>
                  <a:pt x="7563" y="359"/>
                </a:lnTo>
                <a:lnTo>
                  <a:pt x="7569" y="360"/>
                </a:lnTo>
                <a:lnTo>
                  <a:pt x="7576" y="362"/>
                </a:lnTo>
                <a:lnTo>
                  <a:pt x="7582" y="365"/>
                </a:lnTo>
                <a:lnTo>
                  <a:pt x="7587" y="368"/>
                </a:lnTo>
                <a:lnTo>
                  <a:pt x="7592" y="372"/>
                </a:lnTo>
                <a:lnTo>
                  <a:pt x="7597" y="376"/>
                </a:lnTo>
                <a:lnTo>
                  <a:pt x="7605" y="386"/>
                </a:lnTo>
                <a:lnTo>
                  <a:pt x="7611" y="397"/>
                </a:lnTo>
                <a:lnTo>
                  <a:pt x="7616" y="409"/>
                </a:lnTo>
                <a:lnTo>
                  <a:pt x="7620" y="422"/>
                </a:lnTo>
                <a:lnTo>
                  <a:pt x="7623" y="436"/>
                </a:lnTo>
                <a:lnTo>
                  <a:pt x="7625" y="450"/>
                </a:lnTo>
                <a:lnTo>
                  <a:pt x="7626" y="465"/>
                </a:lnTo>
                <a:lnTo>
                  <a:pt x="7626" y="479"/>
                </a:lnTo>
                <a:lnTo>
                  <a:pt x="7627" y="508"/>
                </a:lnTo>
                <a:lnTo>
                  <a:pt x="7626" y="533"/>
                </a:lnTo>
                <a:lnTo>
                  <a:pt x="7626" y="832"/>
                </a:lnTo>
                <a:close/>
                <a:moveTo>
                  <a:pt x="7070" y="832"/>
                </a:moveTo>
                <a:lnTo>
                  <a:pt x="7147" y="832"/>
                </a:lnTo>
                <a:lnTo>
                  <a:pt x="7147" y="447"/>
                </a:lnTo>
                <a:lnTo>
                  <a:pt x="7146" y="431"/>
                </a:lnTo>
                <a:lnTo>
                  <a:pt x="7145" y="415"/>
                </a:lnTo>
                <a:lnTo>
                  <a:pt x="7142" y="400"/>
                </a:lnTo>
                <a:lnTo>
                  <a:pt x="7139" y="385"/>
                </a:lnTo>
                <a:lnTo>
                  <a:pt x="7134" y="371"/>
                </a:lnTo>
                <a:lnTo>
                  <a:pt x="7128" y="357"/>
                </a:lnTo>
                <a:lnTo>
                  <a:pt x="7121" y="344"/>
                </a:lnTo>
                <a:lnTo>
                  <a:pt x="7114" y="332"/>
                </a:lnTo>
                <a:lnTo>
                  <a:pt x="7104" y="321"/>
                </a:lnTo>
                <a:lnTo>
                  <a:pt x="7094" y="311"/>
                </a:lnTo>
                <a:lnTo>
                  <a:pt x="7083" y="302"/>
                </a:lnTo>
                <a:lnTo>
                  <a:pt x="7071" y="295"/>
                </a:lnTo>
                <a:lnTo>
                  <a:pt x="7057" y="289"/>
                </a:lnTo>
                <a:lnTo>
                  <a:pt x="7042" y="284"/>
                </a:lnTo>
                <a:lnTo>
                  <a:pt x="7026" y="281"/>
                </a:lnTo>
                <a:lnTo>
                  <a:pt x="7009" y="281"/>
                </a:lnTo>
                <a:lnTo>
                  <a:pt x="6992" y="281"/>
                </a:lnTo>
                <a:lnTo>
                  <a:pt x="6976" y="283"/>
                </a:lnTo>
                <a:lnTo>
                  <a:pt x="6961" y="286"/>
                </a:lnTo>
                <a:lnTo>
                  <a:pt x="6947" y="290"/>
                </a:lnTo>
                <a:lnTo>
                  <a:pt x="6934" y="296"/>
                </a:lnTo>
                <a:lnTo>
                  <a:pt x="6922" y="302"/>
                </a:lnTo>
                <a:lnTo>
                  <a:pt x="6910" y="310"/>
                </a:lnTo>
                <a:lnTo>
                  <a:pt x="6899" y="318"/>
                </a:lnTo>
                <a:lnTo>
                  <a:pt x="6889" y="327"/>
                </a:lnTo>
                <a:lnTo>
                  <a:pt x="6880" y="338"/>
                </a:lnTo>
                <a:lnTo>
                  <a:pt x="6872" y="349"/>
                </a:lnTo>
                <a:lnTo>
                  <a:pt x="6864" y="361"/>
                </a:lnTo>
                <a:lnTo>
                  <a:pt x="6857" y="374"/>
                </a:lnTo>
                <a:lnTo>
                  <a:pt x="6851" y="388"/>
                </a:lnTo>
                <a:lnTo>
                  <a:pt x="6845" y="402"/>
                </a:lnTo>
                <a:lnTo>
                  <a:pt x="6839" y="417"/>
                </a:lnTo>
                <a:lnTo>
                  <a:pt x="6837" y="417"/>
                </a:lnTo>
                <a:lnTo>
                  <a:pt x="6837" y="50"/>
                </a:lnTo>
                <a:lnTo>
                  <a:pt x="6760" y="50"/>
                </a:lnTo>
                <a:lnTo>
                  <a:pt x="6760" y="832"/>
                </a:lnTo>
                <a:lnTo>
                  <a:pt x="6837" y="832"/>
                </a:lnTo>
                <a:lnTo>
                  <a:pt x="6837" y="609"/>
                </a:lnTo>
                <a:lnTo>
                  <a:pt x="6838" y="593"/>
                </a:lnTo>
                <a:lnTo>
                  <a:pt x="6839" y="574"/>
                </a:lnTo>
                <a:lnTo>
                  <a:pt x="6842" y="555"/>
                </a:lnTo>
                <a:lnTo>
                  <a:pt x="6846" y="534"/>
                </a:lnTo>
                <a:lnTo>
                  <a:pt x="6851" y="513"/>
                </a:lnTo>
                <a:lnTo>
                  <a:pt x="6857" y="492"/>
                </a:lnTo>
                <a:lnTo>
                  <a:pt x="6865" y="472"/>
                </a:lnTo>
                <a:lnTo>
                  <a:pt x="6873" y="452"/>
                </a:lnTo>
                <a:lnTo>
                  <a:pt x="6883" y="433"/>
                </a:lnTo>
                <a:lnTo>
                  <a:pt x="6894" y="415"/>
                </a:lnTo>
                <a:lnTo>
                  <a:pt x="6900" y="407"/>
                </a:lnTo>
                <a:lnTo>
                  <a:pt x="6908" y="399"/>
                </a:lnTo>
                <a:lnTo>
                  <a:pt x="6915" y="392"/>
                </a:lnTo>
                <a:lnTo>
                  <a:pt x="6922" y="385"/>
                </a:lnTo>
                <a:lnTo>
                  <a:pt x="6929" y="379"/>
                </a:lnTo>
                <a:lnTo>
                  <a:pt x="6937" y="373"/>
                </a:lnTo>
                <a:lnTo>
                  <a:pt x="6945" y="369"/>
                </a:lnTo>
                <a:lnTo>
                  <a:pt x="6953" y="365"/>
                </a:lnTo>
                <a:lnTo>
                  <a:pt x="6962" y="362"/>
                </a:lnTo>
                <a:lnTo>
                  <a:pt x="6971" y="359"/>
                </a:lnTo>
                <a:lnTo>
                  <a:pt x="6981" y="358"/>
                </a:lnTo>
                <a:lnTo>
                  <a:pt x="6991" y="357"/>
                </a:lnTo>
                <a:lnTo>
                  <a:pt x="6999" y="358"/>
                </a:lnTo>
                <a:lnTo>
                  <a:pt x="7006" y="359"/>
                </a:lnTo>
                <a:lnTo>
                  <a:pt x="7013" y="360"/>
                </a:lnTo>
                <a:lnTo>
                  <a:pt x="7020" y="362"/>
                </a:lnTo>
                <a:lnTo>
                  <a:pt x="7025" y="365"/>
                </a:lnTo>
                <a:lnTo>
                  <a:pt x="7031" y="368"/>
                </a:lnTo>
                <a:lnTo>
                  <a:pt x="7036" y="372"/>
                </a:lnTo>
                <a:lnTo>
                  <a:pt x="7040" y="376"/>
                </a:lnTo>
                <a:lnTo>
                  <a:pt x="7048" y="386"/>
                </a:lnTo>
                <a:lnTo>
                  <a:pt x="7055" y="397"/>
                </a:lnTo>
                <a:lnTo>
                  <a:pt x="7060" y="409"/>
                </a:lnTo>
                <a:lnTo>
                  <a:pt x="7064" y="422"/>
                </a:lnTo>
                <a:lnTo>
                  <a:pt x="7066" y="436"/>
                </a:lnTo>
                <a:lnTo>
                  <a:pt x="7068" y="450"/>
                </a:lnTo>
                <a:lnTo>
                  <a:pt x="7069" y="465"/>
                </a:lnTo>
                <a:lnTo>
                  <a:pt x="7070" y="479"/>
                </a:lnTo>
                <a:lnTo>
                  <a:pt x="7070" y="508"/>
                </a:lnTo>
                <a:lnTo>
                  <a:pt x="7070" y="533"/>
                </a:lnTo>
                <a:lnTo>
                  <a:pt x="7070" y="832"/>
                </a:lnTo>
                <a:close/>
                <a:moveTo>
                  <a:pt x="6562" y="457"/>
                </a:moveTo>
                <a:lnTo>
                  <a:pt x="6655" y="457"/>
                </a:lnTo>
                <a:lnTo>
                  <a:pt x="6654" y="436"/>
                </a:lnTo>
                <a:lnTo>
                  <a:pt x="6652" y="416"/>
                </a:lnTo>
                <a:lnTo>
                  <a:pt x="6648" y="397"/>
                </a:lnTo>
                <a:lnTo>
                  <a:pt x="6642" y="380"/>
                </a:lnTo>
                <a:lnTo>
                  <a:pt x="6635" y="364"/>
                </a:lnTo>
                <a:lnTo>
                  <a:pt x="6627" y="350"/>
                </a:lnTo>
                <a:lnTo>
                  <a:pt x="6617" y="337"/>
                </a:lnTo>
                <a:lnTo>
                  <a:pt x="6606" y="325"/>
                </a:lnTo>
                <a:lnTo>
                  <a:pt x="6593" y="315"/>
                </a:lnTo>
                <a:lnTo>
                  <a:pt x="6578" y="306"/>
                </a:lnTo>
                <a:lnTo>
                  <a:pt x="6563" y="298"/>
                </a:lnTo>
                <a:lnTo>
                  <a:pt x="6547" y="292"/>
                </a:lnTo>
                <a:lnTo>
                  <a:pt x="6529" y="287"/>
                </a:lnTo>
                <a:lnTo>
                  <a:pt x="6510" y="283"/>
                </a:lnTo>
                <a:lnTo>
                  <a:pt x="6491" y="281"/>
                </a:lnTo>
                <a:lnTo>
                  <a:pt x="6470" y="281"/>
                </a:lnTo>
                <a:lnTo>
                  <a:pt x="6454" y="281"/>
                </a:lnTo>
                <a:lnTo>
                  <a:pt x="6440" y="282"/>
                </a:lnTo>
                <a:lnTo>
                  <a:pt x="6426" y="284"/>
                </a:lnTo>
                <a:lnTo>
                  <a:pt x="6413" y="286"/>
                </a:lnTo>
                <a:lnTo>
                  <a:pt x="6400" y="289"/>
                </a:lnTo>
                <a:lnTo>
                  <a:pt x="6388" y="293"/>
                </a:lnTo>
                <a:lnTo>
                  <a:pt x="6377" y="297"/>
                </a:lnTo>
                <a:lnTo>
                  <a:pt x="6366" y="302"/>
                </a:lnTo>
                <a:lnTo>
                  <a:pt x="6355" y="307"/>
                </a:lnTo>
                <a:lnTo>
                  <a:pt x="6346" y="313"/>
                </a:lnTo>
                <a:lnTo>
                  <a:pt x="6336" y="320"/>
                </a:lnTo>
                <a:lnTo>
                  <a:pt x="6328" y="327"/>
                </a:lnTo>
                <a:lnTo>
                  <a:pt x="6319" y="334"/>
                </a:lnTo>
                <a:lnTo>
                  <a:pt x="6312" y="343"/>
                </a:lnTo>
                <a:lnTo>
                  <a:pt x="6305" y="351"/>
                </a:lnTo>
                <a:lnTo>
                  <a:pt x="6298" y="360"/>
                </a:lnTo>
                <a:lnTo>
                  <a:pt x="6292" y="369"/>
                </a:lnTo>
                <a:lnTo>
                  <a:pt x="6286" y="379"/>
                </a:lnTo>
                <a:lnTo>
                  <a:pt x="6281" y="389"/>
                </a:lnTo>
                <a:lnTo>
                  <a:pt x="6276" y="400"/>
                </a:lnTo>
                <a:lnTo>
                  <a:pt x="6272" y="411"/>
                </a:lnTo>
                <a:lnTo>
                  <a:pt x="6268" y="422"/>
                </a:lnTo>
                <a:lnTo>
                  <a:pt x="6264" y="434"/>
                </a:lnTo>
                <a:lnTo>
                  <a:pt x="6261" y="446"/>
                </a:lnTo>
                <a:lnTo>
                  <a:pt x="6255" y="470"/>
                </a:lnTo>
                <a:lnTo>
                  <a:pt x="6252" y="496"/>
                </a:lnTo>
                <a:lnTo>
                  <a:pt x="6250" y="522"/>
                </a:lnTo>
                <a:lnTo>
                  <a:pt x="6249" y="550"/>
                </a:lnTo>
                <a:lnTo>
                  <a:pt x="6250" y="566"/>
                </a:lnTo>
                <a:lnTo>
                  <a:pt x="6250" y="582"/>
                </a:lnTo>
                <a:lnTo>
                  <a:pt x="6252" y="598"/>
                </a:lnTo>
                <a:lnTo>
                  <a:pt x="6254" y="614"/>
                </a:lnTo>
                <a:lnTo>
                  <a:pt x="6256" y="629"/>
                </a:lnTo>
                <a:lnTo>
                  <a:pt x="6260" y="643"/>
                </a:lnTo>
                <a:lnTo>
                  <a:pt x="6263" y="658"/>
                </a:lnTo>
                <a:lnTo>
                  <a:pt x="6267" y="671"/>
                </a:lnTo>
                <a:lnTo>
                  <a:pt x="6272" y="685"/>
                </a:lnTo>
                <a:lnTo>
                  <a:pt x="6277" y="697"/>
                </a:lnTo>
                <a:lnTo>
                  <a:pt x="6283" y="710"/>
                </a:lnTo>
                <a:lnTo>
                  <a:pt x="6289" y="722"/>
                </a:lnTo>
                <a:lnTo>
                  <a:pt x="6296" y="733"/>
                </a:lnTo>
                <a:lnTo>
                  <a:pt x="6303" y="744"/>
                </a:lnTo>
                <a:lnTo>
                  <a:pt x="6311" y="754"/>
                </a:lnTo>
                <a:lnTo>
                  <a:pt x="6319" y="764"/>
                </a:lnTo>
                <a:lnTo>
                  <a:pt x="6328" y="773"/>
                </a:lnTo>
                <a:lnTo>
                  <a:pt x="6338" y="782"/>
                </a:lnTo>
                <a:lnTo>
                  <a:pt x="6348" y="790"/>
                </a:lnTo>
                <a:lnTo>
                  <a:pt x="6358" y="798"/>
                </a:lnTo>
                <a:lnTo>
                  <a:pt x="6369" y="805"/>
                </a:lnTo>
                <a:lnTo>
                  <a:pt x="6381" y="812"/>
                </a:lnTo>
                <a:lnTo>
                  <a:pt x="6393" y="818"/>
                </a:lnTo>
                <a:lnTo>
                  <a:pt x="6406" y="824"/>
                </a:lnTo>
                <a:lnTo>
                  <a:pt x="6419" y="829"/>
                </a:lnTo>
                <a:lnTo>
                  <a:pt x="6433" y="833"/>
                </a:lnTo>
                <a:lnTo>
                  <a:pt x="6447" y="836"/>
                </a:lnTo>
                <a:lnTo>
                  <a:pt x="6462" y="839"/>
                </a:lnTo>
                <a:lnTo>
                  <a:pt x="6478" y="842"/>
                </a:lnTo>
                <a:lnTo>
                  <a:pt x="6494" y="843"/>
                </a:lnTo>
                <a:lnTo>
                  <a:pt x="6510" y="844"/>
                </a:lnTo>
                <a:lnTo>
                  <a:pt x="6527" y="844"/>
                </a:lnTo>
                <a:lnTo>
                  <a:pt x="6556" y="844"/>
                </a:lnTo>
                <a:lnTo>
                  <a:pt x="6585" y="841"/>
                </a:lnTo>
                <a:lnTo>
                  <a:pt x="6599" y="839"/>
                </a:lnTo>
                <a:lnTo>
                  <a:pt x="6613" y="837"/>
                </a:lnTo>
                <a:lnTo>
                  <a:pt x="6626" y="834"/>
                </a:lnTo>
                <a:lnTo>
                  <a:pt x="6640" y="830"/>
                </a:lnTo>
                <a:lnTo>
                  <a:pt x="6640" y="768"/>
                </a:lnTo>
                <a:lnTo>
                  <a:pt x="6630" y="771"/>
                </a:lnTo>
                <a:lnTo>
                  <a:pt x="6619" y="773"/>
                </a:lnTo>
                <a:lnTo>
                  <a:pt x="6608" y="775"/>
                </a:lnTo>
                <a:lnTo>
                  <a:pt x="6597" y="777"/>
                </a:lnTo>
                <a:lnTo>
                  <a:pt x="6574" y="779"/>
                </a:lnTo>
                <a:lnTo>
                  <a:pt x="6552" y="779"/>
                </a:lnTo>
                <a:lnTo>
                  <a:pt x="6538" y="779"/>
                </a:lnTo>
                <a:lnTo>
                  <a:pt x="6525" y="778"/>
                </a:lnTo>
                <a:lnTo>
                  <a:pt x="6512" y="776"/>
                </a:lnTo>
                <a:lnTo>
                  <a:pt x="6499" y="774"/>
                </a:lnTo>
                <a:lnTo>
                  <a:pt x="6487" y="771"/>
                </a:lnTo>
                <a:lnTo>
                  <a:pt x="6476" y="768"/>
                </a:lnTo>
                <a:lnTo>
                  <a:pt x="6465" y="764"/>
                </a:lnTo>
                <a:lnTo>
                  <a:pt x="6454" y="760"/>
                </a:lnTo>
                <a:lnTo>
                  <a:pt x="6444" y="755"/>
                </a:lnTo>
                <a:lnTo>
                  <a:pt x="6435" y="750"/>
                </a:lnTo>
                <a:lnTo>
                  <a:pt x="6426" y="744"/>
                </a:lnTo>
                <a:lnTo>
                  <a:pt x="6417" y="738"/>
                </a:lnTo>
                <a:lnTo>
                  <a:pt x="6409" y="731"/>
                </a:lnTo>
                <a:lnTo>
                  <a:pt x="6402" y="724"/>
                </a:lnTo>
                <a:lnTo>
                  <a:pt x="6395" y="716"/>
                </a:lnTo>
                <a:lnTo>
                  <a:pt x="6388" y="708"/>
                </a:lnTo>
                <a:lnTo>
                  <a:pt x="6382" y="700"/>
                </a:lnTo>
                <a:lnTo>
                  <a:pt x="6376" y="691"/>
                </a:lnTo>
                <a:lnTo>
                  <a:pt x="6371" y="681"/>
                </a:lnTo>
                <a:lnTo>
                  <a:pt x="6366" y="672"/>
                </a:lnTo>
                <a:lnTo>
                  <a:pt x="6361" y="662"/>
                </a:lnTo>
                <a:lnTo>
                  <a:pt x="6357" y="651"/>
                </a:lnTo>
                <a:lnTo>
                  <a:pt x="6354" y="641"/>
                </a:lnTo>
                <a:lnTo>
                  <a:pt x="6350" y="630"/>
                </a:lnTo>
                <a:lnTo>
                  <a:pt x="6345" y="607"/>
                </a:lnTo>
                <a:lnTo>
                  <a:pt x="6341" y="583"/>
                </a:lnTo>
                <a:lnTo>
                  <a:pt x="6339" y="558"/>
                </a:lnTo>
                <a:lnTo>
                  <a:pt x="6338" y="533"/>
                </a:lnTo>
                <a:lnTo>
                  <a:pt x="6339" y="517"/>
                </a:lnTo>
                <a:lnTo>
                  <a:pt x="6340" y="502"/>
                </a:lnTo>
                <a:lnTo>
                  <a:pt x="6342" y="485"/>
                </a:lnTo>
                <a:lnTo>
                  <a:pt x="6345" y="469"/>
                </a:lnTo>
                <a:lnTo>
                  <a:pt x="6348" y="454"/>
                </a:lnTo>
                <a:lnTo>
                  <a:pt x="6353" y="438"/>
                </a:lnTo>
                <a:lnTo>
                  <a:pt x="6359" y="423"/>
                </a:lnTo>
                <a:lnTo>
                  <a:pt x="6365" y="409"/>
                </a:lnTo>
                <a:lnTo>
                  <a:pt x="6373" y="395"/>
                </a:lnTo>
                <a:lnTo>
                  <a:pt x="6383" y="383"/>
                </a:lnTo>
                <a:lnTo>
                  <a:pt x="6388" y="378"/>
                </a:lnTo>
                <a:lnTo>
                  <a:pt x="6393" y="372"/>
                </a:lnTo>
                <a:lnTo>
                  <a:pt x="6399" y="367"/>
                </a:lnTo>
                <a:lnTo>
                  <a:pt x="6405" y="363"/>
                </a:lnTo>
                <a:lnTo>
                  <a:pt x="6411" y="359"/>
                </a:lnTo>
                <a:lnTo>
                  <a:pt x="6418" y="355"/>
                </a:lnTo>
                <a:lnTo>
                  <a:pt x="6425" y="352"/>
                </a:lnTo>
                <a:lnTo>
                  <a:pt x="6432" y="350"/>
                </a:lnTo>
                <a:lnTo>
                  <a:pt x="6440" y="348"/>
                </a:lnTo>
                <a:lnTo>
                  <a:pt x="6449" y="346"/>
                </a:lnTo>
                <a:lnTo>
                  <a:pt x="6457" y="345"/>
                </a:lnTo>
                <a:lnTo>
                  <a:pt x="6466" y="345"/>
                </a:lnTo>
                <a:lnTo>
                  <a:pt x="6479" y="346"/>
                </a:lnTo>
                <a:lnTo>
                  <a:pt x="6490" y="347"/>
                </a:lnTo>
                <a:lnTo>
                  <a:pt x="6501" y="350"/>
                </a:lnTo>
                <a:lnTo>
                  <a:pt x="6510" y="354"/>
                </a:lnTo>
                <a:lnTo>
                  <a:pt x="6519" y="358"/>
                </a:lnTo>
                <a:lnTo>
                  <a:pt x="6527" y="364"/>
                </a:lnTo>
                <a:lnTo>
                  <a:pt x="6534" y="370"/>
                </a:lnTo>
                <a:lnTo>
                  <a:pt x="6540" y="378"/>
                </a:lnTo>
                <a:lnTo>
                  <a:pt x="6546" y="386"/>
                </a:lnTo>
                <a:lnTo>
                  <a:pt x="6550" y="394"/>
                </a:lnTo>
                <a:lnTo>
                  <a:pt x="6554" y="403"/>
                </a:lnTo>
                <a:lnTo>
                  <a:pt x="6557" y="413"/>
                </a:lnTo>
                <a:lnTo>
                  <a:pt x="6559" y="423"/>
                </a:lnTo>
                <a:lnTo>
                  <a:pt x="6561" y="434"/>
                </a:lnTo>
                <a:lnTo>
                  <a:pt x="6562" y="445"/>
                </a:lnTo>
                <a:lnTo>
                  <a:pt x="6562" y="457"/>
                </a:lnTo>
                <a:close/>
                <a:moveTo>
                  <a:pt x="5848" y="511"/>
                </a:moveTo>
                <a:lnTo>
                  <a:pt x="6159" y="511"/>
                </a:lnTo>
                <a:lnTo>
                  <a:pt x="6159" y="485"/>
                </a:lnTo>
                <a:lnTo>
                  <a:pt x="6158" y="463"/>
                </a:lnTo>
                <a:lnTo>
                  <a:pt x="6156" y="442"/>
                </a:lnTo>
                <a:lnTo>
                  <a:pt x="6152" y="422"/>
                </a:lnTo>
                <a:lnTo>
                  <a:pt x="6147" y="403"/>
                </a:lnTo>
                <a:lnTo>
                  <a:pt x="6140" y="385"/>
                </a:lnTo>
                <a:lnTo>
                  <a:pt x="6132" y="368"/>
                </a:lnTo>
                <a:lnTo>
                  <a:pt x="6123" y="353"/>
                </a:lnTo>
                <a:lnTo>
                  <a:pt x="6112" y="338"/>
                </a:lnTo>
                <a:lnTo>
                  <a:pt x="6106" y="332"/>
                </a:lnTo>
                <a:lnTo>
                  <a:pt x="6099" y="325"/>
                </a:lnTo>
                <a:lnTo>
                  <a:pt x="6093" y="320"/>
                </a:lnTo>
                <a:lnTo>
                  <a:pt x="6085" y="314"/>
                </a:lnTo>
                <a:lnTo>
                  <a:pt x="6078" y="309"/>
                </a:lnTo>
                <a:lnTo>
                  <a:pt x="6070" y="304"/>
                </a:lnTo>
                <a:lnTo>
                  <a:pt x="6062" y="300"/>
                </a:lnTo>
                <a:lnTo>
                  <a:pt x="6053" y="296"/>
                </a:lnTo>
                <a:lnTo>
                  <a:pt x="6044" y="292"/>
                </a:lnTo>
                <a:lnTo>
                  <a:pt x="6035" y="289"/>
                </a:lnTo>
                <a:lnTo>
                  <a:pt x="6025" y="287"/>
                </a:lnTo>
                <a:lnTo>
                  <a:pt x="6015" y="284"/>
                </a:lnTo>
                <a:lnTo>
                  <a:pt x="6005" y="283"/>
                </a:lnTo>
                <a:lnTo>
                  <a:pt x="5994" y="282"/>
                </a:lnTo>
                <a:lnTo>
                  <a:pt x="5982" y="281"/>
                </a:lnTo>
                <a:lnTo>
                  <a:pt x="5971" y="281"/>
                </a:lnTo>
                <a:lnTo>
                  <a:pt x="5956" y="281"/>
                </a:lnTo>
                <a:lnTo>
                  <a:pt x="5942" y="282"/>
                </a:lnTo>
                <a:lnTo>
                  <a:pt x="5928" y="284"/>
                </a:lnTo>
                <a:lnTo>
                  <a:pt x="5915" y="286"/>
                </a:lnTo>
                <a:lnTo>
                  <a:pt x="5903" y="289"/>
                </a:lnTo>
                <a:lnTo>
                  <a:pt x="5892" y="293"/>
                </a:lnTo>
                <a:lnTo>
                  <a:pt x="5881" y="297"/>
                </a:lnTo>
                <a:lnTo>
                  <a:pt x="5870" y="302"/>
                </a:lnTo>
                <a:lnTo>
                  <a:pt x="5860" y="307"/>
                </a:lnTo>
                <a:lnTo>
                  <a:pt x="5851" y="313"/>
                </a:lnTo>
                <a:lnTo>
                  <a:pt x="5842" y="320"/>
                </a:lnTo>
                <a:lnTo>
                  <a:pt x="5834" y="327"/>
                </a:lnTo>
                <a:lnTo>
                  <a:pt x="5826" y="334"/>
                </a:lnTo>
                <a:lnTo>
                  <a:pt x="5819" y="342"/>
                </a:lnTo>
                <a:lnTo>
                  <a:pt x="5812" y="351"/>
                </a:lnTo>
                <a:lnTo>
                  <a:pt x="5805" y="360"/>
                </a:lnTo>
                <a:lnTo>
                  <a:pt x="5799" y="369"/>
                </a:lnTo>
                <a:lnTo>
                  <a:pt x="5794" y="379"/>
                </a:lnTo>
                <a:lnTo>
                  <a:pt x="5789" y="389"/>
                </a:lnTo>
                <a:lnTo>
                  <a:pt x="5784" y="399"/>
                </a:lnTo>
                <a:lnTo>
                  <a:pt x="5776" y="421"/>
                </a:lnTo>
                <a:lnTo>
                  <a:pt x="5770" y="444"/>
                </a:lnTo>
                <a:lnTo>
                  <a:pt x="5765" y="468"/>
                </a:lnTo>
                <a:lnTo>
                  <a:pt x="5762" y="492"/>
                </a:lnTo>
                <a:lnTo>
                  <a:pt x="5760" y="518"/>
                </a:lnTo>
                <a:lnTo>
                  <a:pt x="5760" y="544"/>
                </a:lnTo>
                <a:lnTo>
                  <a:pt x="5760" y="576"/>
                </a:lnTo>
                <a:lnTo>
                  <a:pt x="5763" y="607"/>
                </a:lnTo>
                <a:lnTo>
                  <a:pt x="5765" y="622"/>
                </a:lnTo>
                <a:lnTo>
                  <a:pt x="5768" y="636"/>
                </a:lnTo>
                <a:lnTo>
                  <a:pt x="5771" y="650"/>
                </a:lnTo>
                <a:lnTo>
                  <a:pt x="5774" y="664"/>
                </a:lnTo>
                <a:lnTo>
                  <a:pt x="5778" y="678"/>
                </a:lnTo>
                <a:lnTo>
                  <a:pt x="5783" y="691"/>
                </a:lnTo>
                <a:lnTo>
                  <a:pt x="5788" y="703"/>
                </a:lnTo>
                <a:lnTo>
                  <a:pt x="5793" y="715"/>
                </a:lnTo>
                <a:lnTo>
                  <a:pt x="5799" y="727"/>
                </a:lnTo>
                <a:lnTo>
                  <a:pt x="5806" y="738"/>
                </a:lnTo>
                <a:lnTo>
                  <a:pt x="5813" y="749"/>
                </a:lnTo>
                <a:lnTo>
                  <a:pt x="5821" y="759"/>
                </a:lnTo>
                <a:lnTo>
                  <a:pt x="5829" y="769"/>
                </a:lnTo>
                <a:lnTo>
                  <a:pt x="5838" y="778"/>
                </a:lnTo>
                <a:lnTo>
                  <a:pt x="5847" y="787"/>
                </a:lnTo>
                <a:lnTo>
                  <a:pt x="5857" y="795"/>
                </a:lnTo>
                <a:lnTo>
                  <a:pt x="5867" y="802"/>
                </a:lnTo>
                <a:lnTo>
                  <a:pt x="5878" y="809"/>
                </a:lnTo>
                <a:lnTo>
                  <a:pt x="5890" y="815"/>
                </a:lnTo>
                <a:lnTo>
                  <a:pt x="5902" y="822"/>
                </a:lnTo>
                <a:lnTo>
                  <a:pt x="5915" y="827"/>
                </a:lnTo>
                <a:lnTo>
                  <a:pt x="5928" y="832"/>
                </a:lnTo>
                <a:lnTo>
                  <a:pt x="5943" y="836"/>
                </a:lnTo>
                <a:lnTo>
                  <a:pt x="5958" y="839"/>
                </a:lnTo>
                <a:lnTo>
                  <a:pt x="5973" y="841"/>
                </a:lnTo>
                <a:lnTo>
                  <a:pt x="5989" y="843"/>
                </a:lnTo>
                <a:lnTo>
                  <a:pt x="6006" y="844"/>
                </a:lnTo>
                <a:lnTo>
                  <a:pt x="6023" y="844"/>
                </a:lnTo>
                <a:lnTo>
                  <a:pt x="6054" y="844"/>
                </a:lnTo>
                <a:lnTo>
                  <a:pt x="6085" y="841"/>
                </a:lnTo>
                <a:lnTo>
                  <a:pt x="6101" y="839"/>
                </a:lnTo>
                <a:lnTo>
                  <a:pt x="6116" y="836"/>
                </a:lnTo>
                <a:lnTo>
                  <a:pt x="6131" y="833"/>
                </a:lnTo>
                <a:lnTo>
                  <a:pt x="6146" y="829"/>
                </a:lnTo>
                <a:lnTo>
                  <a:pt x="6146" y="764"/>
                </a:lnTo>
                <a:lnTo>
                  <a:pt x="6120" y="770"/>
                </a:lnTo>
                <a:lnTo>
                  <a:pt x="6093" y="775"/>
                </a:lnTo>
                <a:lnTo>
                  <a:pt x="6067" y="778"/>
                </a:lnTo>
                <a:lnTo>
                  <a:pt x="6040" y="779"/>
                </a:lnTo>
                <a:lnTo>
                  <a:pt x="6028" y="779"/>
                </a:lnTo>
                <a:lnTo>
                  <a:pt x="6016" y="778"/>
                </a:lnTo>
                <a:lnTo>
                  <a:pt x="6005" y="776"/>
                </a:lnTo>
                <a:lnTo>
                  <a:pt x="5994" y="774"/>
                </a:lnTo>
                <a:lnTo>
                  <a:pt x="5983" y="771"/>
                </a:lnTo>
                <a:lnTo>
                  <a:pt x="5973" y="767"/>
                </a:lnTo>
                <a:lnTo>
                  <a:pt x="5963" y="763"/>
                </a:lnTo>
                <a:lnTo>
                  <a:pt x="5954" y="759"/>
                </a:lnTo>
                <a:lnTo>
                  <a:pt x="5945" y="754"/>
                </a:lnTo>
                <a:lnTo>
                  <a:pt x="5936" y="748"/>
                </a:lnTo>
                <a:lnTo>
                  <a:pt x="5928" y="742"/>
                </a:lnTo>
                <a:lnTo>
                  <a:pt x="5920" y="735"/>
                </a:lnTo>
                <a:lnTo>
                  <a:pt x="5913" y="728"/>
                </a:lnTo>
                <a:lnTo>
                  <a:pt x="5906" y="721"/>
                </a:lnTo>
                <a:lnTo>
                  <a:pt x="5900" y="713"/>
                </a:lnTo>
                <a:lnTo>
                  <a:pt x="5894" y="705"/>
                </a:lnTo>
                <a:lnTo>
                  <a:pt x="5883" y="688"/>
                </a:lnTo>
                <a:lnTo>
                  <a:pt x="5873" y="669"/>
                </a:lnTo>
                <a:lnTo>
                  <a:pt x="5865" y="650"/>
                </a:lnTo>
                <a:lnTo>
                  <a:pt x="5859" y="629"/>
                </a:lnTo>
                <a:lnTo>
                  <a:pt x="5854" y="608"/>
                </a:lnTo>
                <a:lnTo>
                  <a:pt x="5851" y="587"/>
                </a:lnTo>
                <a:lnTo>
                  <a:pt x="5848" y="565"/>
                </a:lnTo>
                <a:lnTo>
                  <a:pt x="5848" y="543"/>
                </a:lnTo>
                <a:lnTo>
                  <a:pt x="5848" y="511"/>
                </a:lnTo>
                <a:close/>
                <a:moveTo>
                  <a:pt x="5968" y="345"/>
                </a:moveTo>
                <a:lnTo>
                  <a:pt x="5978" y="345"/>
                </a:lnTo>
                <a:lnTo>
                  <a:pt x="5989" y="347"/>
                </a:lnTo>
                <a:lnTo>
                  <a:pt x="5999" y="349"/>
                </a:lnTo>
                <a:lnTo>
                  <a:pt x="6008" y="353"/>
                </a:lnTo>
                <a:lnTo>
                  <a:pt x="6017" y="357"/>
                </a:lnTo>
                <a:lnTo>
                  <a:pt x="6026" y="362"/>
                </a:lnTo>
                <a:lnTo>
                  <a:pt x="6034" y="367"/>
                </a:lnTo>
                <a:lnTo>
                  <a:pt x="6041" y="374"/>
                </a:lnTo>
                <a:lnTo>
                  <a:pt x="6048" y="381"/>
                </a:lnTo>
                <a:lnTo>
                  <a:pt x="6053" y="389"/>
                </a:lnTo>
                <a:lnTo>
                  <a:pt x="6058" y="397"/>
                </a:lnTo>
                <a:lnTo>
                  <a:pt x="6063" y="406"/>
                </a:lnTo>
                <a:lnTo>
                  <a:pt x="6066" y="416"/>
                </a:lnTo>
                <a:lnTo>
                  <a:pt x="6068" y="425"/>
                </a:lnTo>
                <a:lnTo>
                  <a:pt x="6070" y="436"/>
                </a:lnTo>
                <a:lnTo>
                  <a:pt x="6070" y="447"/>
                </a:lnTo>
                <a:lnTo>
                  <a:pt x="5853" y="447"/>
                </a:lnTo>
                <a:lnTo>
                  <a:pt x="5856" y="436"/>
                </a:lnTo>
                <a:lnTo>
                  <a:pt x="5859" y="425"/>
                </a:lnTo>
                <a:lnTo>
                  <a:pt x="5863" y="416"/>
                </a:lnTo>
                <a:lnTo>
                  <a:pt x="5867" y="406"/>
                </a:lnTo>
                <a:lnTo>
                  <a:pt x="5872" y="397"/>
                </a:lnTo>
                <a:lnTo>
                  <a:pt x="5877" y="389"/>
                </a:lnTo>
                <a:lnTo>
                  <a:pt x="5884" y="381"/>
                </a:lnTo>
                <a:lnTo>
                  <a:pt x="5890" y="374"/>
                </a:lnTo>
                <a:lnTo>
                  <a:pt x="5898" y="367"/>
                </a:lnTo>
                <a:lnTo>
                  <a:pt x="5906" y="362"/>
                </a:lnTo>
                <a:lnTo>
                  <a:pt x="5914" y="357"/>
                </a:lnTo>
                <a:lnTo>
                  <a:pt x="5924" y="353"/>
                </a:lnTo>
                <a:lnTo>
                  <a:pt x="5934" y="349"/>
                </a:lnTo>
                <a:lnTo>
                  <a:pt x="5945" y="347"/>
                </a:lnTo>
                <a:lnTo>
                  <a:pt x="5956" y="345"/>
                </a:lnTo>
                <a:lnTo>
                  <a:pt x="5968" y="345"/>
                </a:lnTo>
                <a:close/>
                <a:moveTo>
                  <a:pt x="5544" y="357"/>
                </a:moveTo>
                <a:lnTo>
                  <a:pt x="5689" y="357"/>
                </a:lnTo>
                <a:lnTo>
                  <a:pt x="5689" y="293"/>
                </a:lnTo>
                <a:lnTo>
                  <a:pt x="5544" y="293"/>
                </a:lnTo>
                <a:lnTo>
                  <a:pt x="5544" y="118"/>
                </a:lnTo>
                <a:lnTo>
                  <a:pt x="5467" y="166"/>
                </a:lnTo>
                <a:lnTo>
                  <a:pt x="5467" y="293"/>
                </a:lnTo>
                <a:lnTo>
                  <a:pt x="5378" y="293"/>
                </a:lnTo>
                <a:lnTo>
                  <a:pt x="5378" y="357"/>
                </a:lnTo>
                <a:lnTo>
                  <a:pt x="5467" y="357"/>
                </a:lnTo>
                <a:lnTo>
                  <a:pt x="5467" y="704"/>
                </a:lnTo>
                <a:lnTo>
                  <a:pt x="5467" y="723"/>
                </a:lnTo>
                <a:lnTo>
                  <a:pt x="5469" y="740"/>
                </a:lnTo>
                <a:lnTo>
                  <a:pt x="5472" y="756"/>
                </a:lnTo>
                <a:lnTo>
                  <a:pt x="5476" y="770"/>
                </a:lnTo>
                <a:lnTo>
                  <a:pt x="5481" y="783"/>
                </a:lnTo>
                <a:lnTo>
                  <a:pt x="5487" y="794"/>
                </a:lnTo>
                <a:lnTo>
                  <a:pt x="5495" y="804"/>
                </a:lnTo>
                <a:lnTo>
                  <a:pt x="5504" y="813"/>
                </a:lnTo>
                <a:lnTo>
                  <a:pt x="5513" y="822"/>
                </a:lnTo>
                <a:lnTo>
                  <a:pt x="5524" y="828"/>
                </a:lnTo>
                <a:lnTo>
                  <a:pt x="5537" y="833"/>
                </a:lnTo>
                <a:lnTo>
                  <a:pt x="5550" y="837"/>
                </a:lnTo>
                <a:lnTo>
                  <a:pt x="5565" y="841"/>
                </a:lnTo>
                <a:lnTo>
                  <a:pt x="5581" y="843"/>
                </a:lnTo>
                <a:lnTo>
                  <a:pt x="5598" y="844"/>
                </a:lnTo>
                <a:lnTo>
                  <a:pt x="5616" y="844"/>
                </a:lnTo>
                <a:lnTo>
                  <a:pt x="5634" y="844"/>
                </a:lnTo>
                <a:lnTo>
                  <a:pt x="5651" y="843"/>
                </a:lnTo>
                <a:lnTo>
                  <a:pt x="5668" y="841"/>
                </a:lnTo>
                <a:lnTo>
                  <a:pt x="5685" y="839"/>
                </a:lnTo>
                <a:lnTo>
                  <a:pt x="5685" y="769"/>
                </a:lnTo>
                <a:lnTo>
                  <a:pt x="5672" y="773"/>
                </a:lnTo>
                <a:lnTo>
                  <a:pt x="5660" y="777"/>
                </a:lnTo>
                <a:lnTo>
                  <a:pt x="5647" y="778"/>
                </a:lnTo>
                <a:lnTo>
                  <a:pt x="5633" y="779"/>
                </a:lnTo>
                <a:lnTo>
                  <a:pt x="5622" y="779"/>
                </a:lnTo>
                <a:lnTo>
                  <a:pt x="5610" y="778"/>
                </a:lnTo>
                <a:lnTo>
                  <a:pt x="5601" y="776"/>
                </a:lnTo>
                <a:lnTo>
                  <a:pt x="5592" y="773"/>
                </a:lnTo>
                <a:lnTo>
                  <a:pt x="5584" y="770"/>
                </a:lnTo>
                <a:lnTo>
                  <a:pt x="5577" y="766"/>
                </a:lnTo>
                <a:lnTo>
                  <a:pt x="5571" y="761"/>
                </a:lnTo>
                <a:lnTo>
                  <a:pt x="5565" y="755"/>
                </a:lnTo>
                <a:lnTo>
                  <a:pt x="5560" y="749"/>
                </a:lnTo>
                <a:lnTo>
                  <a:pt x="5555" y="743"/>
                </a:lnTo>
                <a:lnTo>
                  <a:pt x="5552" y="735"/>
                </a:lnTo>
                <a:lnTo>
                  <a:pt x="5549" y="727"/>
                </a:lnTo>
                <a:lnTo>
                  <a:pt x="5546" y="718"/>
                </a:lnTo>
                <a:lnTo>
                  <a:pt x="5545" y="709"/>
                </a:lnTo>
                <a:lnTo>
                  <a:pt x="5544" y="699"/>
                </a:lnTo>
                <a:lnTo>
                  <a:pt x="5544" y="689"/>
                </a:lnTo>
                <a:lnTo>
                  <a:pt x="5544" y="357"/>
                </a:lnTo>
                <a:close/>
                <a:moveTo>
                  <a:pt x="4883" y="1090"/>
                </a:moveTo>
                <a:lnTo>
                  <a:pt x="4925" y="1090"/>
                </a:lnTo>
                <a:lnTo>
                  <a:pt x="4925" y="0"/>
                </a:lnTo>
                <a:lnTo>
                  <a:pt x="4883" y="0"/>
                </a:lnTo>
                <a:lnTo>
                  <a:pt x="4883" y="1090"/>
                </a:lnTo>
                <a:close/>
                <a:moveTo>
                  <a:pt x="4149" y="1067"/>
                </a:moveTo>
                <a:lnTo>
                  <a:pt x="4163" y="1067"/>
                </a:lnTo>
                <a:lnTo>
                  <a:pt x="4177" y="1066"/>
                </a:lnTo>
                <a:lnTo>
                  <a:pt x="4190" y="1065"/>
                </a:lnTo>
                <a:lnTo>
                  <a:pt x="4203" y="1063"/>
                </a:lnTo>
                <a:lnTo>
                  <a:pt x="4215" y="1061"/>
                </a:lnTo>
                <a:lnTo>
                  <a:pt x="4227" y="1059"/>
                </a:lnTo>
                <a:lnTo>
                  <a:pt x="4239" y="1056"/>
                </a:lnTo>
                <a:lnTo>
                  <a:pt x="4250" y="1052"/>
                </a:lnTo>
                <a:lnTo>
                  <a:pt x="4260" y="1048"/>
                </a:lnTo>
                <a:lnTo>
                  <a:pt x="4270" y="1044"/>
                </a:lnTo>
                <a:lnTo>
                  <a:pt x="4280" y="1039"/>
                </a:lnTo>
                <a:lnTo>
                  <a:pt x="4289" y="1033"/>
                </a:lnTo>
                <a:lnTo>
                  <a:pt x="4298" y="1028"/>
                </a:lnTo>
                <a:lnTo>
                  <a:pt x="4306" y="1021"/>
                </a:lnTo>
                <a:lnTo>
                  <a:pt x="4314" y="1015"/>
                </a:lnTo>
                <a:lnTo>
                  <a:pt x="4321" y="1007"/>
                </a:lnTo>
                <a:lnTo>
                  <a:pt x="4328" y="1000"/>
                </a:lnTo>
                <a:lnTo>
                  <a:pt x="4335" y="992"/>
                </a:lnTo>
                <a:lnTo>
                  <a:pt x="4341" y="983"/>
                </a:lnTo>
                <a:lnTo>
                  <a:pt x="4347" y="974"/>
                </a:lnTo>
                <a:lnTo>
                  <a:pt x="4352" y="965"/>
                </a:lnTo>
                <a:lnTo>
                  <a:pt x="4356" y="955"/>
                </a:lnTo>
                <a:lnTo>
                  <a:pt x="4360" y="945"/>
                </a:lnTo>
                <a:lnTo>
                  <a:pt x="4364" y="934"/>
                </a:lnTo>
                <a:lnTo>
                  <a:pt x="4367" y="923"/>
                </a:lnTo>
                <a:lnTo>
                  <a:pt x="4370" y="911"/>
                </a:lnTo>
                <a:lnTo>
                  <a:pt x="4373" y="899"/>
                </a:lnTo>
                <a:lnTo>
                  <a:pt x="4375" y="887"/>
                </a:lnTo>
                <a:lnTo>
                  <a:pt x="4377" y="861"/>
                </a:lnTo>
                <a:lnTo>
                  <a:pt x="4378" y="833"/>
                </a:lnTo>
                <a:lnTo>
                  <a:pt x="4378" y="293"/>
                </a:lnTo>
                <a:lnTo>
                  <a:pt x="4300" y="293"/>
                </a:lnTo>
                <a:lnTo>
                  <a:pt x="4300" y="381"/>
                </a:lnTo>
                <a:lnTo>
                  <a:pt x="4298" y="381"/>
                </a:lnTo>
                <a:lnTo>
                  <a:pt x="4294" y="370"/>
                </a:lnTo>
                <a:lnTo>
                  <a:pt x="4290" y="359"/>
                </a:lnTo>
                <a:lnTo>
                  <a:pt x="4284" y="348"/>
                </a:lnTo>
                <a:lnTo>
                  <a:pt x="4278" y="339"/>
                </a:lnTo>
                <a:lnTo>
                  <a:pt x="4271" y="330"/>
                </a:lnTo>
                <a:lnTo>
                  <a:pt x="4263" y="322"/>
                </a:lnTo>
                <a:lnTo>
                  <a:pt x="4254" y="314"/>
                </a:lnTo>
                <a:lnTo>
                  <a:pt x="4245" y="307"/>
                </a:lnTo>
                <a:lnTo>
                  <a:pt x="4236" y="301"/>
                </a:lnTo>
                <a:lnTo>
                  <a:pt x="4225" y="296"/>
                </a:lnTo>
                <a:lnTo>
                  <a:pt x="4215" y="291"/>
                </a:lnTo>
                <a:lnTo>
                  <a:pt x="4204" y="287"/>
                </a:lnTo>
                <a:lnTo>
                  <a:pt x="4193" y="284"/>
                </a:lnTo>
                <a:lnTo>
                  <a:pt x="4181" y="282"/>
                </a:lnTo>
                <a:lnTo>
                  <a:pt x="4170" y="281"/>
                </a:lnTo>
                <a:lnTo>
                  <a:pt x="4158" y="281"/>
                </a:lnTo>
                <a:lnTo>
                  <a:pt x="4144" y="281"/>
                </a:lnTo>
                <a:lnTo>
                  <a:pt x="4131" y="282"/>
                </a:lnTo>
                <a:lnTo>
                  <a:pt x="4119" y="285"/>
                </a:lnTo>
                <a:lnTo>
                  <a:pt x="4108" y="288"/>
                </a:lnTo>
                <a:lnTo>
                  <a:pt x="4097" y="292"/>
                </a:lnTo>
                <a:lnTo>
                  <a:pt x="4086" y="297"/>
                </a:lnTo>
                <a:lnTo>
                  <a:pt x="4076" y="302"/>
                </a:lnTo>
                <a:lnTo>
                  <a:pt x="4067" y="309"/>
                </a:lnTo>
                <a:lnTo>
                  <a:pt x="4058" y="316"/>
                </a:lnTo>
                <a:lnTo>
                  <a:pt x="4050" y="323"/>
                </a:lnTo>
                <a:lnTo>
                  <a:pt x="4042" y="331"/>
                </a:lnTo>
                <a:lnTo>
                  <a:pt x="4035" y="340"/>
                </a:lnTo>
                <a:lnTo>
                  <a:pt x="4028" y="349"/>
                </a:lnTo>
                <a:lnTo>
                  <a:pt x="4022" y="359"/>
                </a:lnTo>
                <a:lnTo>
                  <a:pt x="4016" y="369"/>
                </a:lnTo>
                <a:lnTo>
                  <a:pt x="4009" y="379"/>
                </a:lnTo>
                <a:lnTo>
                  <a:pt x="4000" y="401"/>
                </a:lnTo>
                <a:lnTo>
                  <a:pt x="3992" y="424"/>
                </a:lnTo>
                <a:lnTo>
                  <a:pt x="3986" y="448"/>
                </a:lnTo>
                <a:lnTo>
                  <a:pt x="3981" y="472"/>
                </a:lnTo>
                <a:lnTo>
                  <a:pt x="3977" y="496"/>
                </a:lnTo>
                <a:lnTo>
                  <a:pt x="3974" y="520"/>
                </a:lnTo>
                <a:lnTo>
                  <a:pt x="3973" y="543"/>
                </a:lnTo>
                <a:lnTo>
                  <a:pt x="3972" y="565"/>
                </a:lnTo>
                <a:lnTo>
                  <a:pt x="3973" y="588"/>
                </a:lnTo>
                <a:lnTo>
                  <a:pt x="3974" y="612"/>
                </a:lnTo>
                <a:lnTo>
                  <a:pt x="3977" y="635"/>
                </a:lnTo>
                <a:lnTo>
                  <a:pt x="3980" y="658"/>
                </a:lnTo>
                <a:lnTo>
                  <a:pt x="3985" y="681"/>
                </a:lnTo>
                <a:lnTo>
                  <a:pt x="3991" y="703"/>
                </a:lnTo>
                <a:lnTo>
                  <a:pt x="3999" y="724"/>
                </a:lnTo>
                <a:lnTo>
                  <a:pt x="4008" y="744"/>
                </a:lnTo>
                <a:lnTo>
                  <a:pt x="4014" y="753"/>
                </a:lnTo>
                <a:lnTo>
                  <a:pt x="4020" y="762"/>
                </a:lnTo>
                <a:lnTo>
                  <a:pt x="4026" y="771"/>
                </a:lnTo>
                <a:lnTo>
                  <a:pt x="4033" y="779"/>
                </a:lnTo>
                <a:lnTo>
                  <a:pt x="4040" y="787"/>
                </a:lnTo>
                <a:lnTo>
                  <a:pt x="4048" y="794"/>
                </a:lnTo>
                <a:lnTo>
                  <a:pt x="4056" y="800"/>
                </a:lnTo>
                <a:lnTo>
                  <a:pt x="4065" y="807"/>
                </a:lnTo>
                <a:lnTo>
                  <a:pt x="4074" y="812"/>
                </a:lnTo>
                <a:lnTo>
                  <a:pt x="4084" y="818"/>
                </a:lnTo>
                <a:lnTo>
                  <a:pt x="4094" y="822"/>
                </a:lnTo>
                <a:lnTo>
                  <a:pt x="4105" y="826"/>
                </a:lnTo>
                <a:lnTo>
                  <a:pt x="4117" y="828"/>
                </a:lnTo>
                <a:lnTo>
                  <a:pt x="4129" y="830"/>
                </a:lnTo>
                <a:lnTo>
                  <a:pt x="4142" y="832"/>
                </a:lnTo>
                <a:lnTo>
                  <a:pt x="4155" y="832"/>
                </a:lnTo>
                <a:lnTo>
                  <a:pt x="4168" y="832"/>
                </a:lnTo>
                <a:lnTo>
                  <a:pt x="4180" y="830"/>
                </a:lnTo>
                <a:lnTo>
                  <a:pt x="4192" y="828"/>
                </a:lnTo>
                <a:lnTo>
                  <a:pt x="4203" y="825"/>
                </a:lnTo>
                <a:lnTo>
                  <a:pt x="4214" y="821"/>
                </a:lnTo>
                <a:lnTo>
                  <a:pt x="4225" y="816"/>
                </a:lnTo>
                <a:lnTo>
                  <a:pt x="4235" y="810"/>
                </a:lnTo>
                <a:lnTo>
                  <a:pt x="4244" y="804"/>
                </a:lnTo>
                <a:lnTo>
                  <a:pt x="4253" y="797"/>
                </a:lnTo>
                <a:lnTo>
                  <a:pt x="4262" y="789"/>
                </a:lnTo>
                <a:lnTo>
                  <a:pt x="4269" y="781"/>
                </a:lnTo>
                <a:lnTo>
                  <a:pt x="4276" y="771"/>
                </a:lnTo>
                <a:lnTo>
                  <a:pt x="4283" y="762"/>
                </a:lnTo>
                <a:lnTo>
                  <a:pt x="4289" y="751"/>
                </a:lnTo>
                <a:lnTo>
                  <a:pt x="4294" y="740"/>
                </a:lnTo>
                <a:lnTo>
                  <a:pt x="4298" y="728"/>
                </a:lnTo>
                <a:lnTo>
                  <a:pt x="4300" y="728"/>
                </a:lnTo>
                <a:lnTo>
                  <a:pt x="4300" y="824"/>
                </a:lnTo>
                <a:lnTo>
                  <a:pt x="4300" y="845"/>
                </a:lnTo>
                <a:lnTo>
                  <a:pt x="4298" y="865"/>
                </a:lnTo>
                <a:lnTo>
                  <a:pt x="4296" y="883"/>
                </a:lnTo>
                <a:lnTo>
                  <a:pt x="4292" y="901"/>
                </a:lnTo>
                <a:lnTo>
                  <a:pt x="4287" y="917"/>
                </a:lnTo>
                <a:lnTo>
                  <a:pt x="4281" y="931"/>
                </a:lnTo>
                <a:lnTo>
                  <a:pt x="4274" y="945"/>
                </a:lnTo>
                <a:lnTo>
                  <a:pt x="4265" y="957"/>
                </a:lnTo>
                <a:lnTo>
                  <a:pt x="4261" y="962"/>
                </a:lnTo>
                <a:lnTo>
                  <a:pt x="4255" y="967"/>
                </a:lnTo>
                <a:lnTo>
                  <a:pt x="4250" y="972"/>
                </a:lnTo>
                <a:lnTo>
                  <a:pt x="4244" y="977"/>
                </a:lnTo>
                <a:lnTo>
                  <a:pt x="4237" y="981"/>
                </a:lnTo>
                <a:lnTo>
                  <a:pt x="4230" y="985"/>
                </a:lnTo>
                <a:lnTo>
                  <a:pt x="4223" y="988"/>
                </a:lnTo>
                <a:lnTo>
                  <a:pt x="4215" y="991"/>
                </a:lnTo>
                <a:lnTo>
                  <a:pt x="4199" y="996"/>
                </a:lnTo>
                <a:lnTo>
                  <a:pt x="4180" y="1000"/>
                </a:lnTo>
                <a:lnTo>
                  <a:pt x="4160" y="1002"/>
                </a:lnTo>
                <a:lnTo>
                  <a:pt x="4137" y="1003"/>
                </a:lnTo>
                <a:lnTo>
                  <a:pt x="4120" y="1002"/>
                </a:lnTo>
                <a:lnTo>
                  <a:pt x="4102" y="1001"/>
                </a:lnTo>
                <a:lnTo>
                  <a:pt x="4085" y="998"/>
                </a:lnTo>
                <a:lnTo>
                  <a:pt x="4068" y="995"/>
                </a:lnTo>
                <a:lnTo>
                  <a:pt x="4052" y="990"/>
                </a:lnTo>
                <a:lnTo>
                  <a:pt x="4035" y="985"/>
                </a:lnTo>
                <a:lnTo>
                  <a:pt x="4019" y="978"/>
                </a:lnTo>
                <a:lnTo>
                  <a:pt x="4002" y="971"/>
                </a:lnTo>
                <a:lnTo>
                  <a:pt x="4002" y="1049"/>
                </a:lnTo>
                <a:lnTo>
                  <a:pt x="4039" y="1056"/>
                </a:lnTo>
                <a:lnTo>
                  <a:pt x="4075" y="1062"/>
                </a:lnTo>
                <a:lnTo>
                  <a:pt x="4093" y="1064"/>
                </a:lnTo>
                <a:lnTo>
                  <a:pt x="4111" y="1066"/>
                </a:lnTo>
                <a:lnTo>
                  <a:pt x="4130" y="1067"/>
                </a:lnTo>
                <a:lnTo>
                  <a:pt x="4149" y="1067"/>
                </a:lnTo>
                <a:close/>
                <a:moveTo>
                  <a:pt x="4174" y="345"/>
                </a:moveTo>
                <a:lnTo>
                  <a:pt x="4182" y="345"/>
                </a:lnTo>
                <a:lnTo>
                  <a:pt x="4191" y="346"/>
                </a:lnTo>
                <a:lnTo>
                  <a:pt x="4199" y="348"/>
                </a:lnTo>
                <a:lnTo>
                  <a:pt x="4207" y="351"/>
                </a:lnTo>
                <a:lnTo>
                  <a:pt x="4214" y="354"/>
                </a:lnTo>
                <a:lnTo>
                  <a:pt x="4221" y="358"/>
                </a:lnTo>
                <a:lnTo>
                  <a:pt x="4228" y="362"/>
                </a:lnTo>
                <a:lnTo>
                  <a:pt x="4234" y="367"/>
                </a:lnTo>
                <a:lnTo>
                  <a:pt x="4240" y="372"/>
                </a:lnTo>
                <a:lnTo>
                  <a:pt x="4246" y="378"/>
                </a:lnTo>
                <a:lnTo>
                  <a:pt x="4251" y="384"/>
                </a:lnTo>
                <a:lnTo>
                  <a:pt x="4256" y="391"/>
                </a:lnTo>
                <a:lnTo>
                  <a:pt x="4265" y="405"/>
                </a:lnTo>
                <a:lnTo>
                  <a:pt x="4273" y="420"/>
                </a:lnTo>
                <a:lnTo>
                  <a:pt x="4280" y="437"/>
                </a:lnTo>
                <a:lnTo>
                  <a:pt x="4285" y="454"/>
                </a:lnTo>
                <a:lnTo>
                  <a:pt x="4290" y="471"/>
                </a:lnTo>
                <a:lnTo>
                  <a:pt x="4294" y="488"/>
                </a:lnTo>
                <a:lnTo>
                  <a:pt x="4297" y="505"/>
                </a:lnTo>
                <a:lnTo>
                  <a:pt x="4299" y="522"/>
                </a:lnTo>
                <a:lnTo>
                  <a:pt x="4300" y="537"/>
                </a:lnTo>
                <a:lnTo>
                  <a:pt x="4300" y="552"/>
                </a:lnTo>
                <a:lnTo>
                  <a:pt x="4300" y="567"/>
                </a:lnTo>
                <a:lnTo>
                  <a:pt x="4299" y="583"/>
                </a:lnTo>
                <a:lnTo>
                  <a:pt x="4297" y="600"/>
                </a:lnTo>
                <a:lnTo>
                  <a:pt x="4294" y="618"/>
                </a:lnTo>
                <a:lnTo>
                  <a:pt x="4290" y="636"/>
                </a:lnTo>
                <a:lnTo>
                  <a:pt x="4285" y="654"/>
                </a:lnTo>
                <a:lnTo>
                  <a:pt x="4280" y="671"/>
                </a:lnTo>
                <a:lnTo>
                  <a:pt x="4273" y="688"/>
                </a:lnTo>
                <a:lnTo>
                  <a:pt x="4265" y="704"/>
                </a:lnTo>
                <a:lnTo>
                  <a:pt x="4255" y="719"/>
                </a:lnTo>
                <a:lnTo>
                  <a:pt x="4250" y="726"/>
                </a:lnTo>
                <a:lnTo>
                  <a:pt x="4245" y="732"/>
                </a:lnTo>
                <a:lnTo>
                  <a:pt x="4239" y="738"/>
                </a:lnTo>
                <a:lnTo>
                  <a:pt x="4233" y="744"/>
                </a:lnTo>
                <a:lnTo>
                  <a:pt x="4226" y="749"/>
                </a:lnTo>
                <a:lnTo>
                  <a:pt x="4220" y="753"/>
                </a:lnTo>
                <a:lnTo>
                  <a:pt x="4213" y="757"/>
                </a:lnTo>
                <a:lnTo>
                  <a:pt x="4205" y="761"/>
                </a:lnTo>
                <a:lnTo>
                  <a:pt x="4197" y="763"/>
                </a:lnTo>
                <a:lnTo>
                  <a:pt x="4189" y="765"/>
                </a:lnTo>
                <a:lnTo>
                  <a:pt x="4180" y="766"/>
                </a:lnTo>
                <a:lnTo>
                  <a:pt x="4171" y="767"/>
                </a:lnTo>
                <a:lnTo>
                  <a:pt x="4163" y="766"/>
                </a:lnTo>
                <a:lnTo>
                  <a:pt x="4154" y="765"/>
                </a:lnTo>
                <a:lnTo>
                  <a:pt x="4146" y="763"/>
                </a:lnTo>
                <a:lnTo>
                  <a:pt x="4139" y="761"/>
                </a:lnTo>
                <a:lnTo>
                  <a:pt x="4132" y="758"/>
                </a:lnTo>
                <a:lnTo>
                  <a:pt x="4125" y="754"/>
                </a:lnTo>
                <a:lnTo>
                  <a:pt x="4119" y="750"/>
                </a:lnTo>
                <a:lnTo>
                  <a:pt x="4114" y="745"/>
                </a:lnTo>
                <a:lnTo>
                  <a:pt x="4108" y="740"/>
                </a:lnTo>
                <a:lnTo>
                  <a:pt x="4103" y="735"/>
                </a:lnTo>
                <a:lnTo>
                  <a:pt x="4099" y="729"/>
                </a:lnTo>
                <a:lnTo>
                  <a:pt x="4094" y="722"/>
                </a:lnTo>
                <a:lnTo>
                  <a:pt x="4087" y="708"/>
                </a:lnTo>
                <a:lnTo>
                  <a:pt x="4080" y="693"/>
                </a:lnTo>
                <a:lnTo>
                  <a:pt x="4075" y="677"/>
                </a:lnTo>
                <a:lnTo>
                  <a:pt x="4071" y="661"/>
                </a:lnTo>
                <a:lnTo>
                  <a:pt x="4068" y="645"/>
                </a:lnTo>
                <a:lnTo>
                  <a:pt x="4065" y="628"/>
                </a:lnTo>
                <a:lnTo>
                  <a:pt x="4062" y="596"/>
                </a:lnTo>
                <a:lnTo>
                  <a:pt x="4062" y="567"/>
                </a:lnTo>
                <a:lnTo>
                  <a:pt x="4062" y="537"/>
                </a:lnTo>
                <a:lnTo>
                  <a:pt x="4065" y="502"/>
                </a:lnTo>
                <a:lnTo>
                  <a:pt x="4068" y="484"/>
                </a:lnTo>
                <a:lnTo>
                  <a:pt x="4071" y="466"/>
                </a:lnTo>
                <a:lnTo>
                  <a:pt x="4075" y="447"/>
                </a:lnTo>
                <a:lnTo>
                  <a:pt x="4081" y="429"/>
                </a:lnTo>
                <a:lnTo>
                  <a:pt x="4087" y="412"/>
                </a:lnTo>
                <a:lnTo>
                  <a:pt x="4095" y="397"/>
                </a:lnTo>
                <a:lnTo>
                  <a:pt x="4099" y="389"/>
                </a:lnTo>
                <a:lnTo>
                  <a:pt x="4104" y="382"/>
                </a:lnTo>
                <a:lnTo>
                  <a:pt x="4109" y="376"/>
                </a:lnTo>
                <a:lnTo>
                  <a:pt x="4115" y="370"/>
                </a:lnTo>
                <a:lnTo>
                  <a:pt x="4120" y="364"/>
                </a:lnTo>
                <a:lnTo>
                  <a:pt x="4127" y="359"/>
                </a:lnTo>
                <a:lnTo>
                  <a:pt x="4133" y="355"/>
                </a:lnTo>
                <a:lnTo>
                  <a:pt x="4141" y="352"/>
                </a:lnTo>
                <a:lnTo>
                  <a:pt x="4148" y="349"/>
                </a:lnTo>
                <a:lnTo>
                  <a:pt x="4156" y="347"/>
                </a:lnTo>
                <a:lnTo>
                  <a:pt x="4165" y="345"/>
                </a:lnTo>
                <a:lnTo>
                  <a:pt x="4174" y="345"/>
                </a:lnTo>
                <a:close/>
                <a:moveTo>
                  <a:pt x="3766" y="832"/>
                </a:moveTo>
                <a:lnTo>
                  <a:pt x="3843" y="832"/>
                </a:lnTo>
                <a:lnTo>
                  <a:pt x="3843" y="447"/>
                </a:lnTo>
                <a:lnTo>
                  <a:pt x="3843" y="431"/>
                </a:lnTo>
                <a:lnTo>
                  <a:pt x="3841" y="415"/>
                </a:lnTo>
                <a:lnTo>
                  <a:pt x="3839" y="400"/>
                </a:lnTo>
                <a:lnTo>
                  <a:pt x="3835" y="385"/>
                </a:lnTo>
                <a:lnTo>
                  <a:pt x="3830" y="371"/>
                </a:lnTo>
                <a:lnTo>
                  <a:pt x="3825" y="357"/>
                </a:lnTo>
                <a:lnTo>
                  <a:pt x="3818" y="344"/>
                </a:lnTo>
                <a:lnTo>
                  <a:pt x="3810" y="332"/>
                </a:lnTo>
                <a:lnTo>
                  <a:pt x="3801" y="321"/>
                </a:lnTo>
                <a:lnTo>
                  <a:pt x="3791" y="311"/>
                </a:lnTo>
                <a:lnTo>
                  <a:pt x="3779" y="302"/>
                </a:lnTo>
                <a:lnTo>
                  <a:pt x="3767" y="295"/>
                </a:lnTo>
                <a:lnTo>
                  <a:pt x="3753" y="289"/>
                </a:lnTo>
                <a:lnTo>
                  <a:pt x="3739" y="284"/>
                </a:lnTo>
                <a:lnTo>
                  <a:pt x="3723" y="281"/>
                </a:lnTo>
                <a:lnTo>
                  <a:pt x="3705" y="281"/>
                </a:lnTo>
                <a:lnTo>
                  <a:pt x="3687" y="281"/>
                </a:lnTo>
                <a:lnTo>
                  <a:pt x="3671" y="283"/>
                </a:lnTo>
                <a:lnTo>
                  <a:pt x="3656" y="286"/>
                </a:lnTo>
                <a:lnTo>
                  <a:pt x="3642" y="290"/>
                </a:lnTo>
                <a:lnTo>
                  <a:pt x="3629" y="296"/>
                </a:lnTo>
                <a:lnTo>
                  <a:pt x="3617" y="302"/>
                </a:lnTo>
                <a:lnTo>
                  <a:pt x="3606" y="310"/>
                </a:lnTo>
                <a:lnTo>
                  <a:pt x="3595" y="318"/>
                </a:lnTo>
                <a:lnTo>
                  <a:pt x="3585" y="327"/>
                </a:lnTo>
                <a:lnTo>
                  <a:pt x="3576" y="338"/>
                </a:lnTo>
                <a:lnTo>
                  <a:pt x="3568" y="349"/>
                </a:lnTo>
                <a:lnTo>
                  <a:pt x="3560" y="361"/>
                </a:lnTo>
                <a:lnTo>
                  <a:pt x="3553" y="374"/>
                </a:lnTo>
                <a:lnTo>
                  <a:pt x="3547" y="388"/>
                </a:lnTo>
                <a:lnTo>
                  <a:pt x="3541" y="402"/>
                </a:lnTo>
                <a:lnTo>
                  <a:pt x="3536" y="417"/>
                </a:lnTo>
                <a:lnTo>
                  <a:pt x="3534" y="417"/>
                </a:lnTo>
                <a:lnTo>
                  <a:pt x="3534" y="293"/>
                </a:lnTo>
                <a:lnTo>
                  <a:pt x="3457" y="293"/>
                </a:lnTo>
                <a:lnTo>
                  <a:pt x="3457" y="832"/>
                </a:lnTo>
                <a:lnTo>
                  <a:pt x="3534" y="832"/>
                </a:lnTo>
                <a:lnTo>
                  <a:pt x="3534" y="609"/>
                </a:lnTo>
                <a:lnTo>
                  <a:pt x="3534" y="593"/>
                </a:lnTo>
                <a:lnTo>
                  <a:pt x="3536" y="574"/>
                </a:lnTo>
                <a:lnTo>
                  <a:pt x="3538" y="555"/>
                </a:lnTo>
                <a:lnTo>
                  <a:pt x="3542" y="534"/>
                </a:lnTo>
                <a:lnTo>
                  <a:pt x="3547" y="513"/>
                </a:lnTo>
                <a:lnTo>
                  <a:pt x="3554" y="492"/>
                </a:lnTo>
                <a:lnTo>
                  <a:pt x="3561" y="472"/>
                </a:lnTo>
                <a:lnTo>
                  <a:pt x="3570" y="452"/>
                </a:lnTo>
                <a:lnTo>
                  <a:pt x="3580" y="433"/>
                </a:lnTo>
                <a:lnTo>
                  <a:pt x="3591" y="415"/>
                </a:lnTo>
                <a:lnTo>
                  <a:pt x="3597" y="407"/>
                </a:lnTo>
                <a:lnTo>
                  <a:pt x="3603" y="399"/>
                </a:lnTo>
                <a:lnTo>
                  <a:pt x="3610" y="392"/>
                </a:lnTo>
                <a:lnTo>
                  <a:pt x="3617" y="385"/>
                </a:lnTo>
                <a:lnTo>
                  <a:pt x="3624" y="379"/>
                </a:lnTo>
                <a:lnTo>
                  <a:pt x="3632" y="373"/>
                </a:lnTo>
                <a:lnTo>
                  <a:pt x="3640" y="369"/>
                </a:lnTo>
                <a:lnTo>
                  <a:pt x="3649" y="365"/>
                </a:lnTo>
                <a:lnTo>
                  <a:pt x="3658" y="362"/>
                </a:lnTo>
                <a:lnTo>
                  <a:pt x="3667" y="359"/>
                </a:lnTo>
                <a:lnTo>
                  <a:pt x="3676" y="358"/>
                </a:lnTo>
                <a:lnTo>
                  <a:pt x="3686" y="357"/>
                </a:lnTo>
                <a:lnTo>
                  <a:pt x="3695" y="358"/>
                </a:lnTo>
                <a:lnTo>
                  <a:pt x="3703" y="359"/>
                </a:lnTo>
                <a:lnTo>
                  <a:pt x="3710" y="360"/>
                </a:lnTo>
                <a:lnTo>
                  <a:pt x="3716" y="362"/>
                </a:lnTo>
                <a:lnTo>
                  <a:pt x="3722" y="365"/>
                </a:lnTo>
                <a:lnTo>
                  <a:pt x="3727" y="368"/>
                </a:lnTo>
                <a:lnTo>
                  <a:pt x="3732" y="372"/>
                </a:lnTo>
                <a:lnTo>
                  <a:pt x="3737" y="376"/>
                </a:lnTo>
                <a:lnTo>
                  <a:pt x="3745" y="386"/>
                </a:lnTo>
                <a:lnTo>
                  <a:pt x="3751" y="397"/>
                </a:lnTo>
                <a:lnTo>
                  <a:pt x="3756" y="409"/>
                </a:lnTo>
                <a:lnTo>
                  <a:pt x="3760" y="422"/>
                </a:lnTo>
                <a:lnTo>
                  <a:pt x="3763" y="436"/>
                </a:lnTo>
                <a:lnTo>
                  <a:pt x="3765" y="450"/>
                </a:lnTo>
                <a:lnTo>
                  <a:pt x="3766" y="465"/>
                </a:lnTo>
                <a:lnTo>
                  <a:pt x="3766" y="479"/>
                </a:lnTo>
                <a:lnTo>
                  <a:pt x="3767" y="508"/>
                </a:lnTo>
                <a:lnTo>
                  <a:pt x="3766" y="533"/>
                </a:lnTo>
                <a:lnTo>
                  <a:pt x="3766" y="832"/>
                </a:lnTo>
                <a:close/>
                <a:moveTo>
                  <a:pt x="3189" y="152"/>
                </a:moveTo>
                <a:lnTo>
                  <a:pt x="3290" y="152"/>
                </a:lnTo>
                <a:lnTo>
                  <a:pt x="3290" y="50"/>
                </a:lnTo>
                <a:lnTo>
                  <a:pt x="3189" y="50"/>
                </a:lnTo>
                <a:lnTo>
                  <a:pt x="3189" y="152"/>
                </a:lnTo>
                <a:close/>
                <a:moveTo>
                  <a:pt x="3201" y="832"/>
                </a:moveTo>
                <a:lnTo>
                  <a:pt x="3278" y="832"/>
                </a:lnTo>
                <a:lnTo>
                  <a:pt x="3278" y="293"/>
                </a:lnTo>
                <a:lnTo>
                  <a:pt x="3201" y="293"/>
                </a:lnTo>
                <a:lnTo>
                  <a:pt x="3201" y="832"/>
                </a:lnTo>
                <a:close/>
                <a:moveTo>
                  <a:pt x="2942" y="357"/>
                </a:moveTo>
                <a:lnTo>
                  <a:pt x="3088" y="357"/>
                </a:lnTo>
                <a:lnTo>
                  <a:pt x="3088" y="293"/>
                </a:lnTo>
                <a:lnTo>
                  <a:pt x="2942" y="293"/>
                </a:lnTo>
                <a:lnTo>
                  <a:pt x="2942" y="118"/>
                </a:lnTo>
                <a:lnTo>
                  <a:pt x="2865" y="166"/>
                </a:lnTo>
                <a:lnTo>
                  <a:pt x="2865" y="293"/>
                </a:lnTo>
                <a:lnTo>
                  <a:pt x="2777" y="293"/>
                </a:lnTo>
                <a:lnTo>
                  <a:pt x="2777" y="357"/>
                </a:lnTo>
                <a:lnTo>
                  <a:pt x="2865" y="357"/>
                </a:lnTo>
                <a:lnTo>
                  <a:pt x="2865" y="704"/>
                </a:lnTo>
                <a:lnTo>
                  <a:pt x="2866" y="723"/>
                </a:lnTo>
                <a:lnTo>
                  <a:pt x="2868" y="740"/>
                </a:lnTo>
                <a:lnTo>
                  <a:pt x="2870" y="756"/>
                </a:lnTo>
                <a:lnTo>
                  <a:pt x="2874" y="770"/>
                </a:lnTo>
                <a:lnTo>
                  <a:pt x="2880" y="783"/>
                </a:lnTo>
                <a:lnTo>
                  <a:pt x="2886" y="794"/>
                </a:lnTo>
                <a:lnTo>
                  <a:pt x="2894" y="804"/>
                </a:lnTo>
                <a:lnTo>
                  <a:pt x="2902" y="813"/>
                </a:lnTo>
                <a:lnTo>
                  <a:pt x="2912" y="822"/>
                </a:lnTo>
                <a:lnTo>
                  <a:pt x="2923" y="828"/>
                </a:lnTo>
                <a:lnTo>
                  <a:pt x="2935" y="833"/>
                </a:lnTo>
                <a:lnTo>
                  <a:pt x="2949" y="837"/>
                </a:lnTo>
                <a:lnTo>
                  <a:pt x="2963" y="841"/>
                </a:lnTo>
                <a:lnTo>
                  <a:pt x="2979" y="843"/>
                </a:lnTo>
                <a:lnTo>
                  <a:pt x="2996" y="844"/>
                </a:lnTo>
                <a:lnTo>
                  <a:pt x="3015" y="844"/>
                </a:lnTo>
                <a:lnTo>
                  <a:pt x="3032" y="844"/>
                </a:lnTo>
                <a:lnTo>
                  <a:pt x="3050" y="843"/>
                </a:lnTo>
                <a:lnTo>
                  <a:pt x="3066" y="841"/>
                </a:lnTo>
                <a:lnTo>
                  <a:pt x="3083" y="839"/>
                </a:lnTo>
                <a:lnTo>
                  <a:pt x="3083" y="769"/>
                </a:lnTo>
                <a:lnTo>
                  <a:pt x="3070" y="773"/>
                </a:lnTo>
                <a:lnTo>
                  <a:pt x="3058" y="777"/>
                </a:lnTo>
                <a:lnTo>
                  <a:pt x="3045" y="778"/>
                </a:lnTo>
                <a:lnTo>
                  <a:pt x="3030" y="779"/>
                </a:lnTo>
                <a:lnTo>
                  <a:pt x="3019" y="779"/>
                </a:lnTo>
                <a:lnTo>
                  <a:pt x="3009" y="778"/>
                </a:lnTo>
                <a:lnTo>
                  <a:pt x="3000" y="776"/>
                </a:lnTo>
                <a:lnTo>
                  <a:pt x="2991" y="773"/>
                </a:lnTo>
                <a:lnTo>
                  <a:pt x="2983" y="770"/>
                </a:lnTo>
                <a:lnTo>
                  <a:pt x="2976" y="766"/>
                </a:lnTo>
                <a:lnTo>
                  <a:pt x="2969" y="761"/>
                </a:lnTo>
                <a:lnTo>
                  <a:pt x="2963" y="755"/>
                </a:lnTo>
                <a:lnTo>
                  <a:pt x="2958" y="749"/>
                </a:lnTo>
                <a:lnTo>
                  <a:pt x="2954" y="743"/>
                </a:lnTo>
                <a:lnTo>
                  <a:pt x="2950" y="735"/>
                </a:lnTo>
                <a:lnTo>
                  <a:pt x="2947" y="727"/>
                </a:lnTo>
                <a:lnTo>
                  <a:pt x="2945" y="718"/>
                </a:lnTo>
                <a:lnTo>
                  <a:pt x="2943" y="709"/>
                </a:lnTo>
                <a:lnTo>
                  <a:pt x="2943" y="699"/>
                </a:lnTo>
                <a:lnTo>
                  <a:pt x="2942" y="689"/>
                </a:lnTo>
                <a:lnTo>
                  <a:pt x="2942" y="357"/>
                </a:lnTo>
                <a:close/>
                <a:moveTo>
                  <a:pt x="2572" y="832"/>
                </a:moveTo>
                <a:lnTo>
                  <a:pt x="2649" y="832"/>
                </a:lnTo>
                <a:lnTo>
                  <a:pt x="2649" y="50"/>
                </a:lnTo>
                <a:lnTo>
                  <a:pt x="2572" y="50"/>
                </a:lnTo>
                <a:lnTo>
                  <a:pt x="2572" y="832"/>
                </a:lnTo>
                <a:close/>
                <a:moveTo>
                  <a:pt x="2313" y="832"/>
                </a:moveTo>
                <a:lnTo>
                  <a:pt x="2390" y="832"/>
                </a:lnTo>
                <a:lnTo>
                  <a:pt x="2390" y="293"/>
                </a:lnTo>
                <a:lnTo>
                  <a:pt x="2313" y="293"/>
                </a:lnTo>
                <a:lnTo>
                  <a:pt x="2313" y="515"/>
                </a:lnTo>
                <a:lnTo>
                  <a:pt x="2313" y="531"/>
                </a:lnTo>
                <a:lnTo>
                  <a:pt x="2311" y="550"/>
                </a:lnTo>
                <a:lnTo>
                  <a:pt x="2309" y="569"/>
                </a:lnTo>
                <a:lnTo>
                  <a:pt x="2305" y="590"/>
                </a:lnTo>
                <a:lnTo>
                  <a:pt x="2300" y="611"/>
                </a:lnTo>
                <a:lnTo>
                  <a:pt x="2294" y="632"/>
                </a:lnTo>
                <a:lnTo>
                  <a:pt x="2287" y="652"/>
                </a:lnTo>
                <a:lnTo>
                  <a:pt x="2278" y="672"/>
                </a:lnTo>
                <a:lnTo>
                  <a:pt x="2268" y="692"/>
                </a:lnTo>
                <a:lnTo>
                  <a:pt x="2257" y="709"/>
                </a:lnTo>
                <a:lnTo>
                  <a:pt x="2251" y="717"/>
                </a:lnTo>
                <a:lnTo>
                  <a:pt x="2245" y="725"/>
                </a:lnTo>
                <a:lnTo>
                  <a:pt x="2238" y="732"/>
                </a:lnTo>
                <a:lnTo>
                  <a:pt x="2231" y="739"/>
                </a:lnTo>
                <a:lnTo>
                  <a:pt x="2223" y="745"/>
                </a:lnTo>
                <a:lnTo>
                  <a:pt x="2216" y="751"/>
                </a:lnTo>
                <a:lnTo>
                  <a:pt x="2208" y="755"/>
                </a:lnTo>
                <a:lnTo>
                  <a:pt x="2199" y="759"/>
                </a:lnTo>
                <a:lnTo>
                  <a:pt x="2190" y="762"/>
                </a:lnTo>
                <a:lnTo>
                  <a:pt x="2181" y="765"/>
                </a:lnTo>
                <a:lnTo>
                  <a:pt x="2172" y="766"/>
                </a:lnTo>
                <a:lnTo>
                  <a:pt x="2162" y="767"/>
                </a:lnTo>
                <a:lnTo>
                  <a:pt x="2154" y="766"/>
                </a:lnTo>
                <a:lnTo>
                  <a:pt x="2146" y="765"/>
                </a:lnTo>
                <a:lnTo>
                  <a:pt x="2140" y="764"/>
                </a:lnTo>
                <a:lnTo>
                  <a:pt x="2133" y="762"/>
                </a:lnTo>
                <a:lnTo>
                  <a:pt x="2127" y="759"/>
                </a:lnTo>
                <a:lnTo>
                  <a:pt x="2122" y="756"/>
                </a:lnTo>
                <a:lnTo>
                  <a:pt x="2117" y="752"/>
                </a:lnTo>
                <a:lnTo>
                  <a:pt x="2112" y="748"/>
                </a:lnTo>
                <a:lnTo>
                  <a:pt x="2108" y="743"/>
                </a:lnTo>
                <a:lnTo>
                  <a:pt x="2104" y="738"/>
                </a:lnTo>
                <a:lnTo>
                  <a:pt x="2101" y="733"/>
                </a:lnTo>
                <a:lnTo>
                  <a:pt x="2098" y="727"/>
                </a:lnTo>
                <a:lnTo>
                  <a:pt x="2093" y="715"/>
                </a:lnTo>
                <a:lnTo>
                  <a:pt x="2089" y="702"/>
                </a:lnTo>
                <a:lnTo>
                  <a:pt x="2085" y="688"/>
                </a:lnTo>
                <a:lnTo>
                  <a:pt x="2084" y="674"/>
                </a:lnTo>
                <a:lnTo>
                  <a:pt x="2082" y="659"/>
                </a:lnTo>
                <a:lnTo>
                  <a:pt x="2082" y="645"/>
                </a:lnTo>
                <a:lnTo>
                  <a:pt x="2082" y="616"/>
                </a:lnTo>
                <a:lnTo>
                  <a:pt x="2082" y="591"/>
                </a:lnTo>
                <a:lnTo>
                  <a:pt x="2082" y="293"/>
                </a:lnTo>
                <a:lnTo>
                  <a:pt x="2005" y="293"/>
                </a:lnTo>
                <a:lnTo>
                  <a:pt x="2005" y="677"/>
                </a:lnTo>
                <a:lnTo>
                  <a:pt x="2005" y="693"/>
                </a:lnTo>
                <a:lnTo>
                  <a:pt x="2007" y="709"/>
                </a:lnTo>
                <a:lnTo>
                  <a:pt x="2009" y="725"/>
                </a:lnTo>
                <a:lnTo>
                  <a:pt x="2013" y="740"/>
                </a:lnTo>
                <a:lnTo>
                  <a:pt x="2018" y="754"/>
                </a:lnTo>
                <a:lnTo>
                  <a:pt x="2023" y="768"/>
                </a:lnTo>
                <a:lnTo>
                  <a:pt x="2030" y="781"/>
                </a:lnTo>
                <a:lnTo>
                  <a:pt x="2038" y="793"/>
                </a:lnTo>
                <a:lnTo>
                  <a:pt x="2047" y="804"/>
                </a:lnTo>
                <a:lnTo>
                  <a:pt x="2057" y="814"/>
                </a:lnTo>
                <a:lnTo>
                  <a:pt x="2069" y="823"/>
                </a:lnTo>
                <a:lnTo>
                  <a:pt x="2081" y="831"/>
                </a:lnTo>
                <a:lnTo>
                  <a:pt x="2096" y="837"/>
                </a:lnTo>
                <a:lnTo>
                  <a:pt x="2111" y="841"/>
                </a:lnTo>
                <a:lnTo>
                  <a:pt x="2127" y="844"/>
                </a:lnTo>
                <a:lnTo>
                  <a:pt x="2144" y="844"/>
                </a:lnTo>
                <a:lnTo>
                  <a:pt x="2161" y="844"/>
                </a:lnTo>
                <a:lnTo>
                  <a:pt x="2177" y="842"/>
                </a:lnTo>
                <a:lnTo>
                  <a:pt x="2192" y="839"/>
                </a:lnTo>
                <a:lnTo>
                  <a:pt x="2206" y="835"/>
                </a:lnTo>
                <a:lnTo>
                  <a:pt x="2219" y="829"/>
                </a:lnTo>
                <a:lnTo>
                  <a:pt x="2231" y="823"/>
                </a:lnTo>
                <a:lnTo>
                  <a:pt x="2242" y="815"/>
                </a:lnTo>
                <a:lnTo>
                  <a:pt x="2253" y="806"/>
                </a:lnTo>
                <a:lnTo>
                  <a:pt x="2263" y="797"/>
                </a:lnTo>
                <a:lnTo>
                  <a:pt x="2272" y="786"/>
                </a:lnTo>
                <a:lnTo>
                  <a:pt x="2280" y="775"/>
                </a:lnTo>
                <a:lnTo>
                  <a:pt x="2288" y="763"/>
                </a:lnTo>
                <a:lnTo>
                  <a:pt x="2294" y="750"/>
                </a:lnTo>
                <a:lnTo>
                  <a:pt x="2301" y="736"/>
                </a:lnTo>
                <a:lnTo>
                  <a:pt x="2306" y="722"/>
                </a:lnTo>
                <a:lnTo>
                  <a:pt x="2311" y="707"/>
                </a:lnTo>
                <a:lnTo>
                  <a:pt x="2313" y="707"/>
                </a:lnTo>
                <a:lnTo>
                  <a:pt x="2313" y="832"/>
                </a:lnTo>
                <a:close/>
                <a:moveTo>
                  <a:pt x="1700" y="844"/>
                </a:moveTo>
                <a:lnTo>
                  <a:pt x="1719" y="844"/>
                </a:lnTo>
                <a:lnTo>
                  <a:pt x="1739" y="842"/>
                </a:lnTo>
                <a:lnTo>
                  <a:pt x="1758" y="840"/>
                </a:lnTo>
                <a:lnTo>
                  <a:pt x="1777" y="836"/>
                </a:lnTo>
                <a:lnTo>
                  <a:pt x="1795" y="831"/>
                </a:lnTo>
                <a:lnTo>
                  <a:pt x="1811" y="825"/>
                </a:lnTo>
                <a:lnTo>
                  <a:pt x="1827" y="816"/>
                </a:lnTo>
                <a:lnTo>
                  <a:pt x="1841" y="807"/>
                </a:lnTo>
                <a:lnTo>
                  <a:pt x="1854" y="797"/>
                </a:lnTo>
                <a:lnTo>
                  <a:pt x="1866" y="785"/>
                </a:lnTo>
                <a:lnTo>
                  <a:pt x="1871" y="779"/>
                </a:lnTo>
                <a:lnTo>
                  <a:pt x="1876" y="772"/>
                </a:lnTo>
                <a:lnTo>
                  <a:pt x="1880" y="765"/>
                </a:lnTo>
                <a:lnTo>
                  <a:pt x="1885" y="757"/>
                </a:lnTo>
                <a:lnTo>
                  <a:pt x="1888" y="749"/>
                </a:lnTo>
                <a:lnTo>
                  <a:pt x="1891" y="741"/>
                </a:lnTo>
                <a:lnTo>
                  <a:pt x="1894" y="732"/>
                </a:lnTo>
                <a:lnTo>
                  <a:pt x="1896" y="722"/>
                </a:lnTo>
                <a:lnTo>
                  <a:pt x="1898" y="713"/>
                </a:lnTo>
                <a:lnTo>
                  <a:pt x="1900" y="702"/>
                </a:lnTo>
                <a:lnTo>
                  <a:pt x="1900" y="692"/>
                </a:lnTo>
                <a:lnTo>
                  <a:pt x="1901" y="681"/>
                </a:lnTo>
                <a:lnTo>
                  <a:pt x="1900" y="665"/>
                </a:lnTo>
                <a:lnTo>
                  <a:pt x="1898" y="650"/>
                </a:lnTo>
                <a:lnTo>
                  <a:pt x="1895" y="637"/>
                </a:lnTo>
                <a:lnTo>
                  <a:pt x="1890" y="625"/>
                </a:lnTo>
                <a:lnTo>
                  <a:pt x="1885" y="614"/>
                </a:lnTo>
                <a:lnTo>
                  <a:pt x="1878" y="604"/>
                </a:lnTo>
                <a:lnTo>
                  <a:pt x="1871" y="594"/>
                </a:lnTo>
                <a:lnTo>
                  <a:pt x="1863" y="586"/>
                </a:lnTo>
                <a:lnTo>
                  <a:pt x="1853" y="577"/>
                </a:lnTo>
                <a:lnTo>
                  <a:pt x="1844" y="570"/>
                </a:lnTo>
                <a:lnTo>
                  <a:pt x="1833" y="562"/>
                </a:lnTo>
                <a:lnTo>
                  <a:pt x="1822" y="555"/>
                </a:lnTo>
                <a:lnTo>
                  <a:pt x="1799" y="541"/>
                </a:lnTo>
                <a:lnTo>
                  <a:pt x="1775" y="527"/>
                </a:lnTo>
                <a:lnTo>
                  <a:pt x="1729" y="500"/>
                </a:lnTo>
                <a:lnTo>
                  <a:pt x="1700" y="485"/>
                </a:lnTo>
                <a:lnTo>
                  <a:pt x="1668" y="467"/>
                </a:lnTo>
                <a:lnTo>
                  <a:pt x="1661" y="462"/>
                </a:lnTo>
                <a:lnTo>
                  <a:pt x="1654" y="457"/>
                </a:lnTo>
                <a:lnTo>
                  <a:pt x="1648" y="451"/>
                </a:lnTo>
                <a:lnTo>
                  <a:pt x="1642" y="445"/>
                </a:lnTo>
                <a:lnTo>
                  <a:pt x="1638" y="438"/>
                </a:lnTo>
                <a:lnTo>
                  <a:pt x="1635" y="431"/>
                </a:lnTo>
                <a:lnTo>
                  <a:pt x="1632" y="423"/>
                </a:lnTo>
                <a:lnTo>
                  <a:pt x="1632" y="415"/>
                </a:lnTo>
                <a:lnTo>
                  <a:pt x="1632" y="406"/>
                </a:lnTo>
                <a:lnTo>
                  <a:pt x="1635" y="397"/>
                </a:lnTo>
                <a:lnTo>
                  <a:pt x="1638" y="389"/>
                </a:lnTo>
                <a:lnTo>
                  <a:pt x="1643" y="382"/>
                </a:lnTo>
                <a:lnTo>
                  <a:pt x="1648" y="376"/>
                </a:lnTo>
                <a:lnTo>
                  <a:pt x="1655" y="370"/>
                </a:lnTo>
                <a:lnTo>
                  <a:pt x="1662" y="365"/>
                </a:lnTo>
                <a:lnTo>
                  <a:pt x="1670" y="361"/>
                </a:lnTo>
                <a:lnTo>
                  <a:pt x="1679" y="357"/>
                </a:lnTo>
                <a:lnTo>
                  <a:pt x="1687" y="353"/>
                </a:lnTo>
                <a:lnTo>
                  <a:pt x="1696" y="351"/>
                </a:lnTo>
                <a:lnTo>
                  <a:pt x="1706" y="349"/>
                </a:lnTo>
                <a:lnTo>
                  <a:pt x="1724" y="346"/>
                </a:lnTo>
                <a:lnTo>
                  <a:pt x="1740" y="345"/>
                </a:lnTo>
                <a:lnTo>
                  <a:pt x="1756" y="345"/>
                </a:lnTo>
                <a:lnTo>
                  <a:pt x="1773" y="347"/>
                </a:lnTo>
                <a:lnTo>
                  <a:pt x="1789" y="349"/>
                </a:lnTo>
                <a:lnTo>
                  <a:pt x="1805" y="352"/>
                </a:lnTo>
                <a:lnTo>
                  <a:pt x="1821" y="356"/>
                </a:lnTo>
                <a:lnTo>
                  <a:pt x="1837" y="360"/>
                </a:lnTo>
                <a:lnTo>
                  <a:pt x="1852" y="365"/>
                </a:lnTo>
                <a:lnTo>
                  <a:pt x="1867" y="370"/>
                </a:lnTo>
                <a:lnTo>
                  <a:pt x="1867" y="299"/>
                </a:lnTo>
                <a:lnTo>
                  <a:pt x="1836" y="292"/>
                </a:lnTo>
                <a:lnTo>
                  <a:pt x="1804" y="286"/>
                </a:lnTo>
                <a:lnTo>
                  <a:pt x="1789" y="284"/>
                </a:lnTo>
                <a:lnTo>
                  <a:pt x="1773" y="282"/>
                </a:lnTo>
                <a:lnTo>
                  <a:pt x="1755" y="281"/>
                </a:lnTo>
                <a:lnTo>
                  <a:pt x="1739" y="281"/>
                </a:lnTo>
                <a:lnTo>
                  <a:pt x="1722" y="281"/>
                </a:lnTo>
                <a:lnTo>
                  <a:pt x="1705" y="282"/>
                </a:lnTo>
                <a:lnTo>
                  <a:pt x="1688" y="285"/>
                </a:lnTo>
                <a:lnTo>
                  <a:pt x="1671" y="288"/>
                </a:lnTo>
                <a:lnTo>
                  <a:pt x="1655" y="292"/>
                </a:lnTo>
                <a:lnTo>
                  <a:pt x="1640" y="298"/>
                </a:lnTo>
                <a:lnTo>
                  <a:pt x="1626" y="304"/>
                </a:lnTo>
                <a:lnTo>
                  <a:pt x="1612" y="312"/>
                </a:lnTo>
                <a:lnTo>
                  <a:pt x="1600" y="321"/>
                </a:lnTo>
                <a:lnTo>
                  <a:pt x="1589" y="331"/>
                </a:lnTo>
                <a:lnTo>
                  <a:pt x="1584" y="337"/>
                </a:lnTo>
                <a:lnTo>
                  <a:pt x="1579" y="343"/>
                </a:lnTo>
                <a:lnTo>
                  <a:pt x="1574" y="349"/>
                </a:lnTo>
                <a:lnTo>
                  <a:pt x="1571" y="356"/>
                </a:lnTo>
                <a:lnTo>
                  <a:pt x="1567" y="363"/>
                </a:lnTo>
                <a:lnTo>
                  <a:pt x="1564" y="370"/>
                </a:lnTo>
                <a:lnTo>
                  <a:pt x="1561" y="378"/>
                </a:lnTo>
                <a:lnTo>
                  <a:pt x="1559" y="386"/>
                </a:lnTo>
                <a:lnTo>
                  <a:pt x="1557" y="395"/>
                </a:lnTo>
                <a:lnTo>
                  <a:pt x="1556" y="404"/>
                </a:lnTo>
                <a:lnTo>
                  <a:pt x="1555" y="413"/>
                </a:lnTo>
                <a:lnTo>
                  <a:pt x="1555" y="423"/>
                </a:lnTo>
                <a:lnTo>
                  <a:pt x="1555" y="438"/>
                </a:lnTo>
                <a:lnTo>
                  <a:pt x="1557" y="452"/>
                </a:lnTo>
                <a:lnTo>
                  <a:pt x="1561" y="464"/>
                </a:lnTo>
                <a:lnTo>
                  <a:pt x="1565" y="476"/>
                </a:lnTo>
                <a:lnTo>
                  <a:pt x="1570" y="487"/>
                </a:lnTo>
                <a:lnTo>
                  <a:pt x="1577" y="496"/>
                </a:lnTo>
                <a:lnTo>
                  <a:pt x="1584" y="506"/>
                </a:lnTo>
                <a:lnTo>
                  <a:pt x="1592" y="514"/>
                </a:lnTo>
                <a:lnTo>
                  <a:pt x="1601" y="522"/>
                </a:lnTo>
                <a:lnTo>
                  <a:pt x="1610" y="530"/>
                </a:lnTo>
                <a:lnTo>
                  <a:pt x="1621" y="537"/>
                </a:lnTo>
                <a:lnTo>
                  <a:pt x="1631" y="543"/>
                </a:lnTo>
                <a:lnTo>
                  <a:pt x="1653" y="556"/>
                </a:lnTo>
                <a:lnTo>
                  <a:pt x="1677" y="569"/>
                </a:lnTo>
                <a:lnTo>
                  <a:pt x="1726" y="595"/>
                </a:lnTo>
                <a:lnTo>
                  <a:pt x="1741" y="603"/>
                </a:lnTo>
                <a:lnTo>
                  <a:pt x="1757" y="612"/>
                </a:lnTo>
                <a:lnTo>
                  <a:pt x="1775" y="621"/>
                </a:lnTo>
                <a:lnTo>
                  <a:pt x="1790" y="632"/>
                </a:lnTo>
                <a:lnTo>
                  <a:pt x="1797" y="637"/>
                </a:lnTo>
                <a:lnTo>
                  <a:pt x="1803" y="644"/>
                </a:lnTo>
                <a:lnTo>
                  <a:pt x="1809" y="650"/>
                </a:lnTo>
                <a:lnTo>
                  <a:pt x="1814" y="657"/>
                </a:lnTo>
                <a:lnTo>
                  <a:pt x="1818" y="665"/>
                </a:lnTo>
                <a:lnTo>
                  <a:pt x="1821" y="673"/>
                </a:lnTo>
                <a:lnTo>
                  <a:pt x="1823" y="682"/>
                </a:lnTo>
                <a:lnTo>
                  <a:pt x="1824" y="692"/>
                </a:lnTo>
                <a:lnTo>
                  <a:pt x="1823" y="705"/>
                </a:lnTo>
                <a:lnTo>
                  <a:pt x="1820" y="716"/>
                </a:lnTo>
                <a:lnTo>
                  <a:pt x="1817" y="726"/>
                </a:lnTo>
                <a:lnTo>
                  <a:pt x="1811" y="736"/>
                </a:lnTo>
                <a:lnTo>
                  <a:pt x="1805" y="744"/>
                </a:lnTo>
                <a:lnTo>
                  <a:pt x="1797" y="751"/>
                </a:lnTo>
                <a:lnTo>
                  <a:pt x="1789" y="757"/>
                </a:lnTo>
                <a:lnTo>
                  <a:pt x="1780" y="762"/>
                </a:lnTo>
                <a:lnTo>
                  <a:pt x="1770" y="767"/>
                </a:lnTo>
                <a:lnTo>
                  <a:pt x="1758" y="770"/>
                </a:lnTo>
                <a:lnTo>
                  <a:pt x="1748" y="773"/>
                </a:lnTo>
                <a:lnTo>
                  <a:pt x="1736" y="775"/>
                </a:lnTo>
                <a:lnTo>
                  <a:pt x="1714" y="778"/>
                </a:lnTo>
                <a:lnTo>
                  <a:pt x="1692" y="779"/>
                </a:lnTo>
                <a:lnTo>
                  <a:pt x="1674" y="778"/>
                </a:lnTo>
                <a:lnTo>
                  <a:pt x="1656" y="777"/>
                </a:lnTo>
                <a:lnTo>
                  <a:pt x="1639" y="774"/>
                </a:lnTo>
                <a:lnTo>
                  <a:pt x="1621" y="771"/>
                </a:lnTo>
                <a:lnTo>
                  <a:pt x="1604" y="767"/>
                </a:lnTo>
                <a:lnTo>
                  <a:pt x="1587" y="762"/>
                </a:lnTo>
                <a:lnTo>
                  <a:pt x="1570" y="757"/>
                </a:lnTo>
                <a:lnTo>
                  <a:pt x="1553" y="751"/>
                </a:lnTo>
                <a:lnTo>
                  <a:pt x="1553" y="822"/>
                </a:lnTo>
                <a:lnTo>
                  <a:pt x="1570" y="827"/>
                </a:lnTo>
                <a:lnTo>
                  <a:pt x="1589" y="832"/>
                </a:lnTo>
                <a:lnTo>
                  <a:pt x="1607" y="836"/>
                </a:lnTo>
                <a:lnTo>
                  <a:pt x="1625" y="839"/>
                </a:lnTo>
                <a:lnTo>
                  <a:pt x="1644" y="841"/>
                </a:lnTo>
                <a:lnTo>
                  <a:pt x="1662" y="843"/>
                </a:lnTo>
                <a:lnTo>
                  <a:pt x="1681" y="844"/>
                </a:lnTo>
                <a:lnTo>
                  <a:pt x="1700" y="844"/>
                </a:lnTo>
                <a:close/>
                <a:moveTo>
                  <a:pt x="1355" y="832"/>
                </a:moveTo>
                <a:lnTo>
                  <a:pt x="1431" y="832"/>
                </a:lnTo>
                <a:lnTo>
                  <a:pt x="1431" y="447"/>
                </a:lnTo>
                <a:lnTo>
                  <a:pt x="1431" y="431"/>
                </a:lnTo>
                <a:lnTo>
                  <a:pt x="1429" y="415"/>
                </a:lnTo>
                <a:lnTo>
                  <a:pt x="1427" y="400"/>
                </a:lnTo>
                <a:lnTo>
                  <a:pt x="1423" y="385"/>
                </a:lnTo>
                <a:lnTo>
                  <a:pt x="1419" y="371"/>
                </a:lnTo>
                <a:lnTo>
                  <a:pt x="1413" y="357"/>
                </a:lnTo>
                <a:lnTo>
                  <a:pt x="1406" y="344"/>
                </a:lnTo>
                <a:lnTo>
                  <a:pt x="1398" y="332"/>
                </a:lnTo>
                <a:lnTo>
                  <a:pt x="1389" y="321"/>
                </a:lnTo>
                <a:lnTo>
                  <a:pt x="1379" y="311"/>
                </a:lnTo>
                <a:lnTo>
                  <a:pt x="1368" y="302"/>
                </a:lnTo>
                <a:lnTo>
                  <a:pt x="1355" y="295"/>
                </a:lnTo>
                <a:lnTo>
                  <a:pt x="1341" y="289"/>
                </a:lnTo>
                <a:lnTo>
                  <a:pt x="1327" y="284"/>
                </a:lnTo>
                <a:lnTo>
                  <a:pt x="1311" y="281"/>
                </a:lnTo>
                <a:lnTo>
                  <a:pt x="1294" y="281"/>
                </a:lnTo>
                <a:lnTo>
                  <a:pt x="1276" y="281"/>
                </a:lnTo>
                <a:lnTo>
                  <a:pt x="1260" y="283"/>
                </a:lnTo>
                <a:lnTo>
                  <a:pt x="1245" y="286"/>
                </a:lnTo>
                <a:lnTo>
                  <a:pt x="1231" y="290"/>
                </a:lnTo>
                <a:lnTo>
                  <a:pt x="1218" y="296"/>
                </a:lnTo>
                <a:lnTo>
                  <a:pt x="1206" y="302"/>
                </a:lnTo>
                <a:lnTo>
                  <a:pt x="1195" y="310"/>
                </a:lnTo>
                <a:lnTo>
                  <a:pt x="1184" y="318"/>
                </a:lnTo>
                <a:lnTo>
                  <a:pt x="1174" y="327"/>
                </a:lnTo>
                <a:lnTo>
                  <a:pt x="1165" y="338"/>
                </a:lnTo>
                <a:lnTo>
                  <a:pt x="1157" y="349"/>
                </a:lnTo>
                <a:lnTo>
                  <a:pt x="1150" y="361"/>
                </a:lnTo>
                <a:lnTo>
                  <a:pt x="1143" y="374"/>
                </a:lnTo>
                <a:lnTo>
                  <a:pt x="1136" y="388"/>
                </a:lnTo>
                <a:lnTo>
                  <a:pt x="1130" y="402"/>
                </a:lnTo>
                <a:lnTo>
                  <a:pt x="1125" y="417"/>
                </a:lnTo>
                <a:lnTo>
                  <a:pt x="1122" y="417"/>
                </a:lnTo>
                <a:lnTo>
                  <a:pt x="1122" y="293"/>
                </a:lnTo>
                <a:lnTo>
                  <a:pt x="1045" y="293"/>
                </a:lnTo>
                <a:lnTo>
                  <a:pt x="1045" y="832"/>
                </a:lnTo>
                <a:lnTo>
                  <a:pt x="1122" y="832"/>
                </a:lnTo>
                <a:lnTo>
                  <a:pt x="1122" y="609"/>
                </a:lnTo>
                <a:lnTo>
                  <a:pt x="1122" y="593"/>
                </a:lnTo>
                <a:lnTo>
                  <a:pt x="1125" y="574"/>
                </a:lnTo>
                <a:lnTo>
                  <a:pt x="1128" y="555"/>
                </a:lnTo>
                <a:lnTo>
                  <a:pt x="1131" y="534"/>
                </a:lnTo>
                <a:lnTo>
                  <a:pt x="1136" y="513"/>
                </a:lnTo>
                <a:lnTo>
                  <a:pt x="1143" y="492"/>
                </a:lnTo>
                <a:lnTo>
                  <a:pt x="1150" y="472"/>
                </a:lnTo>
                <a:lnTo>
                  <a:pt x="1159" y="452"/>
                </a:lnTo>
                <a:lnTo>
                  <a:pt x="1169" y="433"/>
                </a:lnTo>
                <a:lnTo>
                  <a:pt x="1180" y="415"/>
                </a:lnTo>
                <a:lnTo>
                  <a:pt x="1186" y="407"/>
                </a:lnTo>
                <a:lnTo>
                  <a:pt x="1192" y="399"/>
                </a:lnTo>
                <a:lnTo>
                  <a:pt x="1199" y="392"/>
                </a:lnTo>
                <a:lnTo>
                  <a:pt x="1206" y="385"/>
                </a:lnTo>
                <a:lnTo>
                  <a:pt x="1214" y="379"/>
                </a:lnTo>
                <a:lnTo>
                  <a:pt x="1221" y="373"/>
                </a:lnTo>
                <a:lnTo>
                  <a:pt x="1229" y="369"/>
                </a:lnTo>
                <a:lnTo>
                  <a:pt x="1238" y="365"/>
                </a:lnTo>
                <a:lnTo>
                  <a:pt x="1247" y="362"/>
                </a:lnTo>
                <a:lnTo>
                  <a:pt x="1256" y="359"/>
                </a:lnTo>
                <a:lnTo>
                  <a:pt x="1265" y="358"/>
                </a:lnTo>
                <a:lnTo>
                  <a:pt x="1275" y="357"/>
                </a:lnTo>
                <a:lnTo>
                  <a:pt x="1283" y="358"/>
                </a:lnTo>
                <a:lnTo>
                  <a:pt x="1291" y="359"/>
                </a:lnTo>
                <a:lnTo>
                  <a:pt x="1298" y="360"/>
                </a:lnTo>
                <a:lnTo>
                  <a:pt x="1304" y="362"/>
                </a:lnTo>
                <a:lnTo>
                  <a:pt x="1310" y="365"/>
                </a:lnTo>
                <a:lnTo>
                  <a:pt x="1315" y="368"/>
                </a:lnTo>
                <a:lnTo>
                  <a:pt x="1320" y="372"/>
                </a:lnTo>
                <a:lnTo>
                  <a:pt x="1325" y="376"/>
                </a:lnTo>
                <a:lnTo>
                  <a:pt x="1333" y="386"/>
                </a:lnTo>
                <a:lnTo>
                  <a:pt x="1339" y="397"/>
                </a:lnTo>
                <a:lnTo>
                  <a:pt x="1344" y="409"/>
                </a:lnTo>
                <a:lnTo>
                  <a:pt x="1348" y="422"/>
                </a:lnTo>
                <a:lnTo>
                  <a:pt x="1351" y="436"/>
                </a:lnTo>
                <a:lnTo>
                  <a:pt x="1353" y="450"/>
                </a:lnTo>
                <a:lnTo>
                  <a:pt x="1354" y="465"/>
                </a:lnTo>
                <a:lnTo>
                  <a:pt x="1355" y="479"/>
                </a:lnTo>
                <a:lnTo>
                  <a:pt x="1355" y="508"/>
                </a:lnTo>
                <a:lnTo>
                  <a:pt x="1355" y="533"/>
                </a:lnTo>
                <a:lnTo>
                  <a:pt x="1355" y="832"/>
                </a:lnTo>
                <a:close/>
                <a:moveTo>
                  <a:pt x="692" y="844"/>
                </a:moveTo>
                <a:lnTo>
                  <a:pt x="707" y="844"/>
                </a:lnTo>
                <a:lnTo>
                  <a:pt x="722" y="843"/>
                </a:lnTo>
                <a:lnTo>
                  <a:pt x="736" y="841"/>
                </a:lnTo>
                <a:lnTo>
                  <a:pt x="750" y="838"/>
                </a:lnTo>
                <a:lnTo>
                  <a:pt x="762" y="835"/>
                </a:lnTo>
                <a:lnTo>
                  <a:pt x="775" y="831"/>
                </a:lnTo>
                <a:lnTo>
                  <a:pt x="786" y="826"/>
                </a:lnTo>
                <a:lnTo>
                  <a:pt x="797" y="821"/>
                </a:lnTo>
                <a:lnTo>
                  <a:pt x="809" y="814"/>
                </a:lnTo>
                <a:lnTo>
                  <a:pt x="818" y="808"/>
                </a:lnTo>
                <a:lnTo>
                  <a:pt x="828" y="801"/>
                </a:lnTo>
                <a:lnTo>
                  <a:pt x="837" y="793"/>
                </a:lnTo>
                <a:lnTo>
                  <a:pt x="845" y="785"/>
                </a:lnTo>
                <a:lnTo>
                  <a:pt x="853" y="777"/>
                </a:lnTo>
                <a:lnTo>
                  <a:pt x="860" y="768"/>
                </a:lnTo>
                <a:lnTo>
                  <a:pt x="867" y="758"/>
                </a:lnTo>
                <a:lnTo>
                  <a:pt x="873" y="748"/>
                </a:lnTo>
                <a:lnTo>
                  <a:pt x="878" y="738"/>
                </a:lnTo>
                <a:lnTo>
                  <a:pt x="884" y="727"/>
                </a:lnTo>
                <a:lnTo>
                  <a:pt x="889" y="716"/>
                </a:lnTo>
                <a:lnTo>
                  <a:pt x="897" y="693"/>
                </a:lnTo>
                <a:lnTo>
                  <a:pt x="903" y="668"/>
                </a:lnTo>
                <a:lnTo>
                  <a:pt x="908" y="643"/>
                </a:lnTo>
                <a:lnTo>
                  <a:pt x="912" y="617"/>
                </a:lnTo>
                <a:lnTo>
                  <a:pt x="914" y="590"/>
                </a:lnTo>
                <a:lnTo>
                  <a:pt x="915" y="563"/>
                </a:lnTo>
                <a:lnTo>
                  <a:pt x="914" y="536"/>
                </a:lnTo>
                <a:lnTo>
                  <a:pt x="912" y="509"/>
                </a:lnTo>
                <a:lnTo>
                  <a:pt x="908" y="483"/>
                </a:lnTo>
                <a:lnTo>
                  <a:pt x="903" y="457"/>
                </a:lnTo>
                <a:lnTo>
                  <a:pt x="897" y="433"/>
                </a:lnTo>
                <a:lnTo>
                  <a:pt x="889" y="410"/>
                </a:lnTo>
                <a:lnTo>
                  <a:pt x="884" y="398"/>
                </a:lnTo>
                <a:lnTo>
                  <a:pt x="878" y="388"/>
                </a:lnTo>
                <a:lnTo>
                  <a:pt x="873" y="377"/>
                </a:lnTo>
                <a:lnTo>
                  <a:pt x="867" y="367"/>
                </a:lnTo>
                <a:lnTo>
                  <a:pt x="860" y="358"/>
                </a:lnTo>
                <a:lnTo>
                  <a:pt x="853" y="348"/>
                </a:lnTo>
                <a:lnTo>
                  <a:pt x="845" y="340"/>
                </a:lnTo>
                <a:lnTo>
                  <a:pt x="837" y="332"/>
                </a:lnTo>
                <a:lnTo>
                  <a:pt x="828" y="324"/>
                </a:lnTo>
                <a:lnTo>
                  <a:pt x="818" y="317"/>
                </a:lnTo>
                <a:lnTo>
                  <a:pt x="809" y="310"/>
                </a:lnTo>
                <a:lnTo>
                  <a:pt x="797" y="304"/>
                </a:lnTo>
                <a:lnTo>
                  <a:pt x="786" y="299"/>
                </a:lnTo>
                <a:lnTo>
                  <a:pt x="775" y="294"/>
                </a:lnTo>
                <a:lnTo>
                  <a:pt x="762" y="290"/>
                </a:lnTo>
                <a:lnTo>
                  <a:pt x="750" y="287"/>
                </a:lnTo>
                <a:lnTo>
                  <a:pt x="736" y="284"/>
                </a:lnTo>
                <a:lnTo>
                  <a:pt x="722" y="282"/>
                </a:lnTo>
                <a:lnTo>
                  <a:pt x="707" y="281"/>
                </a:lnTo>
                <a:lnTo>
                  <a:pt x="692" y="281"/>
                </a:lnTo>
                <a:lnTo>
                  <a:pt x="677" y="281"/>
                </a:lnTo>
                <a:lnTo>
                  <a:pt x="662" y="282"/>
                </a:lnTo>
                <a:lnTo>
                  <a:pt x="648" y="284"/>
                </a:lnTo>
                <a:lnTo>
                  <a:pt x="635" y="287"/>
                </a:lnTo>
                <a:lnTo>
                  <a:pt x="622" y="290"/>
                </a:lnTo>
                <a:lnTo>
                  <a:pt x="610" y="294"/>
                </a:lnTo>
                <a:lnTo>
                  <a:pt x="598" y="299"/>
                </a:lnTo>
                <a:lnTo>
                  <a:pt x="588" y="304"/>
                </a:lnTo>
                <a:lnTo>
                  <a:pt x="577" y="310"/>
                </a:lnTo>
                <a:lnTo>
                  <a:pt x="567" y="317"/>
                </a:lnTo>
                <a:lnTo>
                  <a:pt x="558" y="324"/>
                </a:lnTo>
                <a:lnTo>
                  <a:pt x="549" y="332"/>
                </a:lnTo>
                <a:lnTo>
                  <a:pt x="541" y="340"/>
                </a:lnTo>
                <a:lnTo>
                  <a:pt x="534" y="349"/>
                </a:lnTo>
                <a:lnTo>
                  <a:pt x="527" y="358"/>
                </a:lnTo>
                <a:lnTo>
                  <a:pt x="520" y="368"/>
                </a:lnTo>
                <a:lnTo>
                  <a:pt x="514" y="378"/>
                </a:lnTo>
                <a:lnTo>
                  <a:pt x="508" y="388"/>
                </a:lnTo>
                <a:lnTo>
                  <a:pt x="503" y="399"/>
                </a:lnTo>
                <a:lnTo>
                  <a:pt x="498" y="410"/>
                </a:lnTo>
                <a:lnTo>
                  <a:pt x="490" y="434"/>
                </a:lnTo>
                <a:lnTo>
                  <a:pt x="483" y="458"/>
                </a:lnTo>
                <a:lnTo>
                  <a:pt x="478" y="483"/>
                </a:lnTo>
                <a:lnTo>
                  <a:pt x="474" y="509"/>
                </a:lnTo>
                <a:lnTo>
                  <a:pt x="472" y="536"/>
                </a:lnTo>
                <a:lnTo>
                  <a:pt x="472" y="563"/>
                </a:lnTo>
                <a:lnTo>
                  <a:pt x="472" y="590"/>
                </a:lnTo>
                <a:lnTo>
                  <a:pt x="474" y="617"/>
                </a:lnTo>
                <a:lnTo>
                  <a:pt x="478" y="643"/>
                </a:lnTo>
                <a:lnTo>
                  <a:pt x="483" y="668"/>
                </a:lnTo>
                <a:lnTo>
                  <a:pt x="490" y="692"/>
                </a:lnTo>
                <a:lnTo>
                  <a:pt x="498" y="715"/>
                </a:lnTo>
                <a:lnTo>
                  <a:pt x="503" y="727"/>
                </a:lnTo>
                <a:lnTo>
                  <a:pt x="508" y="737"/>
                </a:lnTo>
                <a:lnTo>
                  <a:pt x="514" y="748"/>
                </a:lnTo>
                <a:lnTo>
                  <a:pt x="520" y="758"/>
                </a:lnTo>
                <a:lnTo>
                  <a:pt x="527" y="767"/>
                </a:lnTo>
                <a:lnTo>
                  <a:pt x="534" y="776"/>
                </a:lnTo>
                <a:lnTo>
                  <a:pt x="541" y="785"/>
                </a:lnTo>
                <a:lnTo>
                  <a:pt x="549" y="793"/>
                </a:lnTo>
                <a:lnTo>
                  <a:pt x="558" y="801"/>
                </a:lnTo>
                <a:lnTo>
                  <a:pt x="567" y="808"/>
                </a:lnTo>
                <a:lnTo>
                  <a:pt x="577" y="814"/>
                </a:lnTo>
                <a:lnTo>
                  <a:pt x="588" y="821"/>
                </a:lnTo>
                <a:lnTo>
                  <a:pt x="598" y="826"/>
                </a:lnTo>
                <a:lnTo>
                  <a:pt x="610" y="831"/>
                </a:lnTo>
                <a:lnTo>
                  <a:pt x="622" y="835"/>
                </a:lnTo>
                <a:lnTo>
                  <a:pt x="635" y="838"/>
                </a:lnTo>
                <a:lnTo>
                  <a:pt x="648" y="841"/>
                </a:lnTo>
                <a:lnTo>
                  <a:pt x="662" y="843"/>
                </a:lnTo>
                <a:lnTo>
                  <a:pt x="677" y="844"/>
                </a:lnTo>
                <a:lnTo>
                  <a:pt x="692" y="844"/>
                </a:lnTo>
                <a:close/>
                <a:moveTo>
                  <a:pt x="692" y="345"/>
                </a:moveTo>
                <a:lnTo>
                  <a:pt x="702" y="345"/>
                </a:lnTo>
                <a:lnTo>
                  <a:pt x="712" y="346"/>
                </a:lnTo>
                <a:lnTo>
                  <a:pt x="721" y="348"/>
                </a:lnTo>
                <a:lnTo>
                  <a:pt x="730" y="351"/>
                </a:lnTo>
                <a:lnTo>
                  <a:pt x="738" y="354"/>
                </a:lnTo>
                <a:lnTo>
                  <a:pt x="746" y="358"/>
                </a:lnTo>
                <a:lnTo>
                  <a:pt x="753" y="362"/>
                </a:lnTo>
                <a:lnTo>
                  <a:pt x="760" y="367"/>
                </a:lnTo>
                <a:lnTo>
                  <a:pt x="766" y="372"/>
                </a:lnTo>
                <a:lnTo>
                  <a:pt x="772" y="378"/>
                </a:lnTo>
                <a:lnTo>
                  <a:pt x="778" y="384"/>
                </a:lnTo>
                <a:lnTo>
                  <a:pt x="783" y="391"/>
                </a:lnTo>
                <a:lnTo>
                  <a:pt x="793" y="405"/>
                </a:lnTo>
                <a:lnTo>
                  <a:pt x="801" y="421"/>
                </a:lnTo>
                <a:lnTo>
                  <a:pt x="808" y="438"/>
                </a:lnTo>
                <a:lnTo>
                  <a:pt x="814" y="455"/>
                </a:lnTo>
                <a:lnTo>
                  <a:pt x="818" y="473"/>
                </a:lnTo>
                <a:lnTo>
                  <a:pt x="821" y="491"/>
                </a:lnTo>
                <a:lnTo>
                  <a:pt x="824" y="510"/>
                </a:lnTo>
                <a:lnTo>
                  <a:pt x="825" y="528"/>
                </a:lnTo>
                <a:lnTo>
                  <a:pt x="826" y="545"/>
                </a:lnTo>
                <a:lnTo>
                  <a:pt x="826" y="562"/>
                </a:lnTo>
                <a:lnTo>
                  <a:pt x="826" y="579"/>
                </a:lnTo>
                <a:lnTo>
                  <a:pt x="825" y="596"/>
                </a:lnTo>
                <a:lnTo>
                  <a:pt x="824" y="614"/>
                </a:lnTo>
                <a:lnTo>
                  <a:pt x="821" y="633"/>
                </a:lnTo>
                <a:lnTo>
                  <a:pt x="818" y="651"/>
                </a:lnTo>
                <a:lnTo>
                  <a:pt x="814" y="669"/>
                </a:lnTo>
                <a:lnTo>
                  <a:pt x="809" y="686"/>
                </a:lnTo>
                <a:lnTo>
                  <a:pt x="801" y="703"/>
                </a:lnTo>
                <a:lnTo>
                  <a:pt x="793" y="719"/>
                </a:lnTo>
                <a:lnTo>
                  <a:pt x="784" y="733"/>
                </a:lnTo>
                <a:lnTo>
                  <a:pt x="779" y="740"/>
                </a:lnTo>
                <a:lnTo>
                  <a:pt x="773" y="746"/>
                </a:lnTo>
                <a:lnTo>
                  <a:pt x="767" y="752"/>
                </a:lnTo>
                <a:lnTo>
                  <a:pt x="761" y="757"/>
                </a:lnTo>
                <a:lnTo>
                  <a:pt x="754" y="762"/>
                </a:lnTo>
                <a:lnTo>
                  <a:pt x="746" y="767"/>
                </a:lnTo>
                <a:lnTo>
                  <a:pt x="738" y="770"/>
                </a:lnTo>
                <a:lnTo>
                  <a:pt x="730" y="773"/>
                </a:lnTo>
                <a:lnTo>
                  <a:pt x="721" y="776"/>
                </a:lnTo>
                <a:lnTo>
                  <a:pt x="712" y="778"/>
                </a:lnTo>
                <a:lnTo>
                  <a:pt x="702" y="779"/>
                </a:lnTo>
                <a:lnTo>
                  <a:pt x="692" y="779"/>
                </a:lnTo>
                <a:lnTo>
                  <a:pt x="682" y="779"/>
                </a:lnTo>
                <a:lnTo>
                  <a:pt x="672" y="778"/>
                </a:lnTo>
                <a:lnTo>
                  <a:pt x="663" y="776"/>
                </a:lnTo>
                <a:lnTo>
                  <a:pt x="654" y="773"/>
                </a:lnTo>
                <a:lnTo>
                  <a:pt x="646" y="770"/>
                </a:lnTo>
                <a:lnTo>
                  <a:pt x="638" y="766"/>
                </a:lnTo>
                <a:lnTo>
                  <a:pt x="631" y="762"/>
                </a:lnTo>
                <a:lnTo>
                  <a:pt x="624" y="757"/>
                </a:lnTo>
                <a:lnTo>
                  <a:pt x="618" y="752"/>
                </a:lnTo>
                <a:lnTo>
                  <a:pt x="612" y="746"/>
                </a:lnTo>
                <a:lnTo>
                  <a:pt x="606" y="740"/>
                </a:lnTo>
                <a:lnTo>
                  <a:pt x="601" y="733"/>
                </a:lnTo>
                <a:lnTo>
                  <a:pt x="592" y="719"/>
                </a:lnTo>
                <a:lnTo>
                  <a:pt x="584" y="703"/>
                </a:lnTo>
                <a:lnTo>
                  <a:pt x="578" y="686"/>
                </a:lnTo>
                <a:lnTo>
                  <a:pt x="573" y="668"/>
                </a:lnTo>
                <a:lnTo>
                  <a:pt x="569" y="650"/>
                </a:lnTo>
                <a:lnTo>
                  <a:pt x="566" y="632"/>
                </a:lnTo>
                <a:lnTo>
                  <a:pt x="563" y="614"/>
                </a:lnTo>
                <a:lnTo>
                  <a:pt x="562" y="596"/>
                </a:lnTo>
                <a:lnTo>
                  <a:pt x="561" y="579"/>
                </a:lnTo>
                <a:lnTo>
                  <a:pt x="561" y="562"/>
                </a:lnTo>
                <a:lnTo>
                  <a:pt x="561" y="545"/>
                </a:lnTo>
                <a:lnTo>
                  <a:pt x="562" y="528"/>
                </a:lnTo>
                <a:lnTo>
                  <a:pt x="563" y="510"/>
                </a:lnTo>
                <a:lnTo>
                  <a:pt x="566" y="492"/>
                </a:lnTo>
                <a:lnTo>
                  <a:pt x="569" y="474"/>
                </a:lnTo>
                <a:lnTo>
                  <a:pt x="573" y="456"/>
                </a:lnTo>
                <a:lnTo>
                  <a:pt x="578" y="438"/>
                </a:lnTo>
                <a:lnTo>
                  <a:pt x="584" y="421"/>
                </a:lnTo>
                <a:lnTo>
                  <a:pt x="592" y="405"/>
                </a:lnTo>
                <a:lnTo>
                  <a:pt x="601" y="391"/>
                </a:lnTo>
                <a:lnTo>
                  <a:pt x="606" y="384"/>
                </a:lnTo>
                <a:lnTo>
                  <a:pt x="612" y="378"/>
                </a:lnTo>
                <a:lnTo>
                  <a:pt x="618" y="372"/>
                </a:lnTo>
                <a:lnTo>
                  <a:pt x="624" y="367"/>
                </a:lnTo>
                <a:lnTo>
                  <a:pt x="631" y="362"/>
                </a:lnTo>
                <a:lnTo>
                  <a:pt x="638" y="358"/>
                </a:lnTo>
                <a:lnTo>
                  <a:pt x="646" y="354"/>
                </a:lnTo>
                <a:lnTo>
                  <a:pt x="654" y="351"/>
                </a:lnTo>
                <a:lnTo>
                  <a:pt x="663" y="348"/>
                </a:lnTo>
                <a:lnTo>
                  <a:pt x="672" y="346"/>
                </a:lnTo>
                <a:lnTo>
                  <a:pt x="682" y="345"/>
                </a:lnTo>
                <a:lnTo>
                  <a:pt x="692" y="345"/>
                </a:lnTo>
                <a:close/>
                <a:moveTo>
                  <a:pt x="313" y="457"/>
                </a:moveTo>
                <a:lnTo>
                  <a:pt x="405" y="457"/>
                </a:lnTo>
                <a:lnTo>
                  <a:pt x="404" y="436"/>
                </a:lnTo>
                <a:lnTo>
                  <a:pt x="401" y="416"/>
                </a:lnTo>
                <a:lnTo>
                  <a:pt x="397" y="397"/>
                </a:lnTo>
                <a:lnTo>
                  <a:pt x="392" y="380"/>
                </a:lnTo>
                <a:lnTo>
                  <a:pt x="385" y="364"/>
                </a:lnTo>
                <a:lnTo>
                  <a:pt x="376" y="350"/>
                </a:lnTo>
                <a:lnTo>
                  <a:pt x="367" y="337"/>
                </a:lnTo>
                <a:lnTo>
                  <a:pt x="355" y="325"/>
                </a:lnTo>
                <a:lnTo>
                  <a:pt x="343" y="315"/>
                </a:lnTo>
                <a:lnTo>
                  <a:pt x="329" y="306"/>
                </a:lnTo>
                <a:lnTo>
                  <a:pt x="314" y="298"/>
                </a:lnTo>
                <a:lnTo>
                  <a:pt x="297" y="292"/>
                </a:lnTo>
                <a:lnTo>
                  <a:pt x="280" y="287"/>
                </a:lnTo>
                <a:lnTo>
                  <a:pt x="261" y="283"/>
                </a:lnTo>
                <a:lnTo>
                  <a:pt x="241" y="281"/>
                </a:lnTo>
                <a:lnTo>
                  <a:pt x="220" y="281"/>
                </a:lnTo>
                <a:lnTo>
                  <a:pt x="205" y="281"/>
                </a:lnTo>
                <a:lnTo>
                  <a:pt x="191" y="282"/>
                </a:lnTo>
                <a:lnTo>
                  <a:pt x="177" y="284"/>
                </a:lnTo>
                <a:lnTo>
                  <a:pt x="164" y="286"/>
                </a:lnTo>
                <a:lnTo>
                  <a:pt x="150" y="289"/>
                </a:lnTo>
                <a:lnTo>
                  <a:pt x="138" y="293"/>
                </a:lnTo>
                <a:lnTo>
                  <a:pt x="126" y="297"/>
                </a:lnTo>
                <a:lnTo>
                  <a:pt x="115" y="302"/>
                </a:lnTo>
                <a:lnTo>
                  <a:pt x="105" y="307"/>
                </a:lnTo>
                <a:lnTo>
                  <a:pt x="95" y="313"/>
                </a:lnTo>
                <a:lnTo>
                  <a:pt x="86" y="320"/>
                </a:lnTo>
                <a:lnTo>
                  <a:pt x="77" y="327"/>
                </a:lnTo>
                <a:lnTo>
                  <a:pt x="69" y="334"/>
                </a:lnTo>
                <a:lnTo>
                  <a:pt x="62" y="343"/>
                </a:lnTo>
                <a:lnTo>
                  <a:pt x="54" y="351"/>
                </a:lnTo>
                <a:lnTo>
                  <a:pt x="48" y="360"/>
                </a:lnTo>
                <a:lnTo>
                  <a:pt x="42" y="369"/>
                </a:lnTo>
                <a:lnTo>
                  <a:pt x="36" y="379"/>
                </a:lnTo>
                <a:lnTo>
                  <a:pt x="31" y="389"/>
                </a:lnTo>
                <a:lnTo>
                  <a:pt x="26" y="400"/>
                </a:lnTo>
                <a:lnTo>
                  <a:pt x="21" y="411"/>
                </a:lnTo>
                <a:lnTo>
                  <a:pt x="18" y="422"/>
                </a:lnTo>
                <a:lnTo>
                  <a:pt x="14" y="434"/>
                </a:lnTo>
                <a:lnTo>
                  <a:pt x="11" y="446"/>
                </a:lnTo>
                <a:lnTo>
                  <a:pt x="6" y="470"/>
                </a:lnTo>
                <a:lnTo>
                  <a:pt x="3" y="496"/>
                </a:lnTo>
                <a:lnTo>
                  <a:pt x="1" y="522"/>
                </a:lnTo>
                <a:lnTo>
                  <a:pt x="0" y="550"/>
                </a:lnTo>
                <a:lnTo>
                  <a:pt x="0" y="566"/>
                </a:lnTo>
                <a:lnTo>
                  <a:pt x="1" y="582"/>
                </a:lnTo>
                <a:lnTo>
                  <a:pt x="2" y="598"/>
                </a:lnTo>
                <a:lnTo>
                  <a:pt x="4" y="614"/>
                </a:lnTo>
                <a:lnTo>
                  <a:pt x="7" y="629"/>
                </a:lnTo>
                <a:lnTo>
                  <a:pt x="10" y="643"/>
                </a:lnTo>
                <a:lnTo>
                  <a:pt x="13" y="658"/>
                </a:lnTo>
                <a:lnTo>
                  <a:pt x="17" y="671"/>
                </a:lnTo>
                <a:lnTo>
                  <a:pt x="22" y="685"/>
                </a:lnTo>
                <a:lnTo>
                  <a:pt x="27" y="697"/>
                </a:lnTo>
                <a:lnTo>
                  <a:pt x="33" y="710"/>
                </a:lnTo>
                <a:lnTo>
                  <a:pt x="39" y="722"/>
                </a:lnTo>
                <a:lnTo>
                  <a:pt x="45" y="733"/>
                </a:lnTo>
                <a:lnTo>
                  <a:pt x="53" y="744"/>
                </a:lnTo>
                <a:lnTo>
                  <a:pt x="61" y="754"/>
                </a:lnTo>
                <a:lnTo>
                  <a:pt x="69" y="764"/>
                </a:lnTo>
                <a:lnTo>
                  <a:pt x="78" y="773"/>
                </a:lnTo>
                <a:lnTo>
                  <a:pt x="87" y="782"/>
                </a:lnTo>
                <a:lnTo>
                  <a:pt x="97" y="790"/>
                </a:lnTo>
                <a:lnTo>
                  <a:pt x="108" y="798"/>
                </a:lnTo>
                <a:lnTo>
                  <a:pt x="119" y="805"/>
                </a:lnTo>
                <a:lnTo>
                  <a:pt x="131" y="812"/>
                </a:lnTo>
                <a:lnTo>
                  <a:pt x="143" y="818"/>
                </a:lnTo>
                <a:lnTo>
                  <a:pt x="156" y="824"/>
                </a:lnTo>
                <a:lnTo>
                  <a:pt x="170" y="829"/>
                </a:lnTo>
                <a:lnTo>
                  <a:pt x="184" y="833"/>
                </a:lnTo>
                <a:lnTo>
                  <a:pt x="198" y="836"/>
                </a:lnTo>
                <a:lnTo>
                  <a:pt x="213" y="839"/>
                </a:lnTo>
                <a:lnTo>
                  <a:pt x="228" y="842"/>
                </a:lnTo>
                <a:lnTo>
                  <a:pt x="244" y="843"/>
                </a:lnTo>
                <a:lnTo>
                  <a:pt x="261" y="844"/>
                </a:lnTo>
                <a:lnTo>
                  <a:pt x="278" y="844"/>
                </a:lnTo>
                <a:lnTo>
                  <a:pt x="307" y="844"/>
                </a:lnTo>
                <a:lnTo>
                  <a:pt x="335" y="841"/>
                </a:lnTo>
                <a:lnTo>
                  <a:pt x="349" y="839"/>
                </a:lnTo>
                <a:lnTo>
                  <a:pt x="362" y="837"/>
                </a:lnTo>
                <a:lnTo>
                  <a:pt x="376" y="834"/>
                </a:lnTo>
                <a:lnTo>
                  <a:pt x="390" y="830"/>
                </a:lnTo>
                <a:lnTo>
                  <a:pt x="390" y="768"/>
                </a:lnTo>
                <a:lnTo>
                  <a:pt x="379" y="771"/>
                </a:lnTo>
                <a:lnTo>
                  <a:pt x="369" y="773"/>
                </a:lnTo>
                <a:lnTo>
                  <a:pt x="358" y="775"/>
                </a:lnTo>
                <a:lnTo>
                  <a:pt x="347" y="777"/>
                </a:lnTo>
                <a:lnTo>
                  <a:pt x="325" y="779"/>
                </a:lnTo>
                <a:lnTo>
                  <a:pt x="303" y="779"/>
                </a:lnTo>
                <a:lnTo>
                  <a:pt x="289" y="779"/>
                </a:lnTo>
                <a:lnTo>
                  <a:pt x="275" y="778"/>
                </a:lnTo>
                <a:lnTo>
                  <a:pt x="262" y="776"/>
                </a:lnTo>
                <a:lnTo>
                  <a:pt x="250" y="774"/>
                </a:lnTo>
                <a:lnTo>
                  <a:pt x="238" y="771"/>
                </a:lnTo>
                <a:lnTo>
                  <a:pt x="227" y="768"/>
                </a:lnTo>
                <a:lnTo>
                  <a:pt x="216" y="764"/>
                </a:lnTo>
                <a:lnTo>
                  <a:pt x="205" y="760"/>
                </a:lnTo>
                <a:lnTo>
                  <a:pt x="195" y="755"/>
                </a:lnTo>
                <a:lnTo>
                  <a:pt x="186" y="750"/>
                </a:lnTo>
                <a:lnTo>
                  <a:pt x="177" y="744"/>
                </a:lnTo>
                <a:lnTo>
                  <a:pt x="168" y="738"/>
                </a:lnTo>
                <a:lnTo>
                  <a:pt x="159" y="731"/>
                </a:lnTo>
                <a:lnTo>
                  <a:pt x="152" y="724"/>
                </a:lnTo>
                <a:lnTo>
                  <a:pt x="144" y="716"/>
                </a:lnTo>
                <a:lnTo>
                  <a:pt x="138" y="708"/>
                </a:lnTo>
                <a:lnTo>
                  <a:pt x="132" y="700"/>
                </a:lnTo>
                <a:lnTo>
                  <a:pt x="126" y="691"/>
                </a:lnTo>
                <a:lnTo>
                  <a:pt x="120" y="681"/>
                </a:lnTo>
                <a:lnTo>
                  <a:pt x="116" y="672"/>
                </a:lnTo>
                <a:lnTo>
                  <a:pt x="111" y="662"/>
                </a:lnTo>
                <a:lnTo>
                  <a:pt x="107" y="651"/>
                </a:lnTo>
                <a:lnTo>
                  <a:pt x="103" y="641"/>
                </a:lnTo>
                <a:lnTo>
                  <a:pt x="100" y="630"/>
                </a:lnTo>
                <a:lnTo>
                  <a:pt x="95" y="607"/>
                </a:lnTo>
                <a:lnTo>
                  <a:pt x="91" y="583"/>
                </a:lnTo>
                <a:lnTo>
                  <a:pt x="89" y="558"/>
                </a:lnTo>
                <a:lnTo>
                  <a:pt x="88" y="533"/>
                </a:lnTo>
                <a:lnTo>
                  <a:pt x="89" y="517"/>
                </a:lnTo>
                <a:lnTo>
                  <a:pt x="90" y="502"/>
                </a:lnTo>
                <a:lnTo>
                  <a:pt x="92" y="485"/>
                </a:lnTo>
                <a:lnTo>
                  <a:pt x="94" y="469"/>
                </a:lnTo>
                <a:lnTo>
                  <a:pt x="98" y="454"/>
                </a:lnTo>
                <a:lnTo>
                  <a:pt x="103" y="438"/>
                </a:lnTo>
                <a:lnTo>
                  <a:pt x="108" y="423"/>
                </a:lnTo>
                <a:lnTo>
                  <a:pt x="115" y="409"/>
                </a:lnTo>
                <a:lnTo>
                  <a:pt x="123" y="395"/>
                </a:lnTo>
                <a:lnTo>
                  <a:pt x="132" y="383"/>
                </a:lnTo>
                <a:lnTo>
                  <a:pt x="137" y="378"/>
                </a:lnTo>
                <a:lnTo>
                  <a:pt x="143" y="372"/>
                </a:lnTo>
                <a:lnTo>
                  <a:pt x="148" y="367"/>
                </a:lnTo>
                <a:lnTo>
                  <a:pt x="154" y="363"/>
                </a:lnTo>
                <a:lnTo>
                  <a:pt x="162" y="359"/>
                </a:lnTo>
                <a:lnTo>
                  <a:pt x="169" y="355"/>
                </a:lnTo>
                <a:lnTo>
                  <a:pt x="176" y="352"/>
                </a:lnTo>
                <a:lnTo>
                  <a:pt x="183" y="350"/>
                </a:lnTo>
                <a:lnTo>
                  <a:pt x="191" y="348"/>
                </a:lnTo>
                <a:lnTo>
                  <a:pt x="199" y="346"/>
                </a:lnTo>
                <a:lnTo>
                  <a:pt x="208" y="345"/>
                </a:lnTo>
                <a:lnTo>
                  <a:pt x="217" y="345"/>
                </a:lnTo>
                <a:lnTo>
                  <a:pt x="229" y="346"/>
                </a:lnTo>
                <a:lnTo>
                  <a:pt x="241" y="347"/>
                </a:lnTo>
                <a:lnTo>
                  <a:pt x="251" y="350"/>
                </a:lnTo>
                <a:lnTo>
                  <a:pt x="261" y="354"/>
                </a:lnTo>
                <a:lnTo>
                  <a:pt x="270" y="358"/>
                </a:lnTo>
                <a:lnTo>
                  <a:pt x="278" y="364"/>
                </a:lnTo>
                <a:lnTo>
                  <a:pt x="285" y="370"/>
                </a:lnTo>
                <a:lnTo>
                  <a:pt x="291" y="378"/>
                </a:lnTo>
                <a:lnTo>
                  <a:pt x="296" y="386"/>
                </a:lnTo>
                <a:lnTo>
                  <a:pt x="301" y="394"/>
                </a:lnTo>
                <a:lnTo>
                  <a:pt x="305" y="403"/>
                </a:lnTo>
                <a:lnTo>
                  <a:pt x="308" y="413"/>
                </a:lnTo>
                <a:lnTo>
                  <a:pt x="310" y="423"/>
                </a:lnTo>
                <a:lnTo>
                  <a:pt x="312" y="434"/>
                </a:lnTo>
                <a:lnTo>
                  <a:pt x="313" y="445"/>
                </a:lnTo>
                <a:lnTo>
                  <a:pt x="313" y="457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10" name="Group 9"/>
          <p:cNvGrpSpPr/>
          <p:nvPr userDrawn="1"/>
        </p:nvGrpSpPr>
        <p:grpSpPr>
          <a:xfrm>
            <a:off x="452439" y="366051"/>
            <a:ext cx="2196707" cy="626400"/>
            <a:chOff x="452439" y="366051"/>
            <a:chExt cx="2196707" cy="626400"/>
          </a:xfrm>
        </p:grpSpPr>
        <p:grpSp>
          <p:nvGrpSpPr>
            <p:cNvPr id="44" name="Group 21"/>
            <p:cNvGrpSpPr/>
            <p:nvPr userDrawn="1"/>
          </p:nvGrpSpPr>
          <p:grpSpPr>
            <a:xfrm>
              <a:off x="452439" y="605980"/>
              <a:ext cx="2196707" cy="386471"/>
              <a:chOff x="931863" y="2459038"/>
              <a:chExt cx="2427287" cy="427038"/>
            </a:xfrm>
            <a:solidFill>
              <a:schemeClr val="tx1"/>
            </a:solidFill>
          </p:grpSpPr>
          <p:sp>
            <p:nvSpPr>
              <p:cNvPr id="46" name="Freeform 5"/>
              <p:cNvSpPr>
                <a:spLocks noEditPoints="1"/>
              </p:cNvSpPr>
              <p:nvPr userDrawn="1"/>
            </p:nvSpPr>
            <p:spPr bwMode="auto">
              <a:xfrm>
                <a:off x="931863" y="2555875"/>
                <a:ext cx="247650" cy="330200"/>
              </a:xfrm>
              <a:custGeom>
                <a:avLst/>
                <a:gdLst/>
                <a:ahLst/>
                <a:cxnLst>
                  <a:cxn ang="0">
                    <a:pos x="1703" y="546"/>
                  </a:cxn>
                  <a:cxn ang="0">
                    <a:pos x="1652" y="361"/>
                  </a:cxn>
                  <a:cxn ang="0">
                    <a:pos x="1561" y="217"/>
                  </a:cxn>
                  <a:cxn ang="0">
                    <a:pos x="1432" y="113"/>
                  </a:cxn>
                  <a:cxn ang="0">
                    <a:pos x="1271" y="45"/>
                  </a:cxn>
                  <a:cxn ang="0">
                    <a:pos x="1083" y="9"/>
                  </a:cxn>
                  <a:cxn ang="0">
                    <a:pos x="872" y="1"/>
                  </a:cxn>
                  <a:cxn ang="0">
                    <a:pos x="670" y="21"/>
                  </a:cxn>
                  <a:cxn ang="0">
                    <a:pos x="486" y="74"/>
                  </a:cxn>
                  <a:cxn ang="0">
                    <a:pos x="328" y="160"/>
                  </a:cxn>
                  <a:cxn ang="0">
                    <a:pos x="204" y="282"/>
                  </a:cxn>
                  <a:cxn ang="0">
                    <a:pos x="121" y="444"/>
                  </a:cxn>
                  <a:cxn ang="0">
                    <a:pos x="84" y="647"/>
                  </a:cxn>
                  <a:cxn ang="0">
                    <a:pos x="582" y="635"/>
                  </a:cxn>
                  <a:cxn ang="0">
                    <a:pos x="601" y="550"/>
                  </a:cxn>
                  <a:cxn ang="0">
                    <a:pos x="636" y="480"/>
                  </a:cxn>
                  <a:cxn ang="0">
                    <a:pos x="687" y="425"/>
                  </a:cxn>
                  <a:cxn ang="0">
                    <a:pos x="755" y="386"/>
                  </a:cxn>
                  <a:cxn ang="0">
                    <a:pos x="838" y="364"/>
                  </a:cxn>
                  <a:cxn ang="0">
                    <a:pos x="939" y="359"/>
                  </a:cxn>
                  <a:cxn ang="0">
                    <a:pos x="1038" y="376"/>
                  </a:cxn>
                  <a:cxn ang="0">
                    <a:pos x="1112" y="417"/>
                  </a:cxn>
                  <a:cxn ang="0">
                    <a:pos x="1165" y="477"/>
                  </a:cxn>
                  <a:cxn ang="0">
                    <a:pos x="1198" y="553"/>
                  </a:cxn>
                  <a:cxn ang="0">
                    <a:pos x="1220" y="678"/>
                  </a:cxn>
                  <a:cxn ang="0">
                    <a:pos x="1028" y="982"/>
                  </a:cxn>
                  <a:cxn ang="0">
                    <a:pos x="772" y="1009"/>
                  </a:cxn>
                  <a:cxn ang="0">
                    <a:pos x="519" y="1067"/>
                  </a:cxn>
                  <a:cxn ang="0">
                    <a:pos x="295" y="1168"/>
                  </a:cxn>
                  <a:cxn ang="0">
                    <a:pos x="121" y="1322"/>
                  </a:cxn>
                  <a:cxn ang="0">
                    <a:pos x="18" y="1542"/>
                  </a:cxn>
                  <a:cxn ang="0">
                    <a:pos x="3" y="1780"/>
                  </a:cxn>
                  <a:cxn ang="0">
                    <a:pos x="40" y="1931"/>
                  </a:cxn>
                  <a:cxn ang="0">
                    <a:pos x="111" y="2057"/>
                  </a:cxn>
                  <a:cxn ang="0">
                    <a:pos x="213" y="2155"/>
                  </a:cxn>
                  <a:cxn ang="0">
                    <a:pos x="340" y="2227"/>
                  </a:cxn>
                  <a:cxn ang="0">
                    <a:pos x="485" y="2270"/>
                  </a:cxn>
                  <a:cxn ang="0">
                    <a:pos x="644" y="2285"/>
                  </a:cxn>
                  <a:cxn ang="0">
                    <a:pos x="797" y="2273"/>
                  </a:cxn>
                  <a:cxn ang="0">
                    <a:pos x="901" y="2248"/>
                  </a:cxn>
                  <a:cxn ang="0">
                    <a:pos x="995" y="2208"/>
                  </a:cxn>
                  <a:cxn ang="0">
                    <a:pos x="1082" y="2152"/>
                  </a:cxn>
                  <a:cxn ang="0">
                    <a:pos x="1155" y="2077"/>
                  </a:cxn>
                  <a:cxn ang="0">
                    <a:pos x="1214" y="1982"/>
                  </a:cxn>
                  <a:cxn ang="0">
                    <a:pos x="1224" y="1298"/>
                  </a:cxn>
                  <a:cxn ang="0">
                    <a:pos x="1211" y="1436"/>
                  </a:cxn>
                  <a:cxn ang="0">
                    <a:pos x="1178" y="1574"/>
                  </a:cxn>
                  <a:cxn ang="0">
                    <a:pos x="1124" y="1704"/>
                  </a:cxn>
                  <a:cxn ang="0">
                    <a:pos x="1044" y="1813"/>
                  </a:cxn>
                  <a:cxn ang="0">
                    <a:pos x="937" y="1891"/>
                  </a:cxn>
                  <a:cxn ang="0">
                    <a:pos x="799" y="1927"/>
                  </a:cxn>
                  <a:cxn ang="0">
                    <a:pos x="707" y="1923"/>
                  </a:cxn>
                  <a:cxn ang="0">
                    <a:pos x="641" y="1907"/>
                  </a:cxn>
                  <a:cxn ang="0">
                    <a:pos x="587" y="1877"/>
                  </a:cxn>
                  <a:cxn ang="0">
                    <a:pos x="545" y="1835"/>
                  </a:cxn>
                  <a:cxn ang="0">
                    <a:pos x="515" y="1780"/>
                  </a:cxn>
                  <a:cxn ang="0">
                    <a:pos x="499" y="1713"/>
                  </a:cxn>
                  <a:cxn ang="0">
                    <a:pos x="502" y="1607"/>
                  </a:cxn>
                  <a:cxn ang="0">
                    <a:pos x="558" y="1485"/>
                  </a:cxn>
                  <a:cxn ang="0">
                    <a:pos x="662" y="1396"/>
                  </a:cxn>
                  <a:cxn ang="0">
                    <a:pos x="798" y="1334"/>
                  </a:cxn>
                  <a:cxn ang="0">
                    <a:pos x="947" y="1297"/>
                  </a:cxn>
                  <a:cxn ang="0">
                    <a:pos x="1175" y="1272"/>
                  </a:cxn>
                </a:cxnLst>
                <a:rect l="0" t="0" r="r" b="b"/>
                <a:pathLst>
                  <a:path w="1711" h="2285">
                    <a:moveTo>
                      <a:pt x="1711" y="2235"/>
                    </a:moveTo>
                    <a:lnTo>
                      <a:pt x="1711" y="679"/>
                    </a:lnTo>
                    <a:lnTo>
                      <a:pt x="1710" y="633"/>
                    </a:lnTo>
                    <a:lnTo>
                      <a:pt x="1707" y="589"/>
                    </a:lnTo>
                    <a:lnTo>
                      <a:pt x="1703" y="546"/>
                    </a:lnTo>
                    <a:lnTo>
                      <a:pt x="1697" y="505"/>
                    </a:lnTo>
                    <a:lnTo>
                      <a:pt x="1688" y="467"/>
                    </a:lnTo>
                    <a:lnTo>
                      <a:pt x="1678" y="430"/>
                    </a:lnTo>
                    <a:lnTo>
                      <a:pt x="1666" y="394"/>
                    </a:lnTo>
                    <a:lnTo>
                      <a:pt x="1652" y="361"/>
                    </a:lnTo>
                    <a:lnTo>
                      <a:pt x="1637" y="328"/>
                    </a:lnTo>
                    <a:lnTo>
                      <a:pt x="1620" y="299"/>
                    </a:lnTo>
                    <a:lnTo>
                      <a:pt x="1602" y="270"/>
                    </a:lnTo>
                    <a:lnTo>
                      <a:pt x="1582" y="243"/>
                    </a:lnTo>
                    <a:lnTo>
                      <a:pt x="1561" y="217"/>
                    </a:lnTo>
                    <a:lnTo>
                      <a:pt x="1538" y="194"/>
                    </a:lnTo>
                    <a:lnTo>
                      <a:pt x="1514" y="172"/>
                    </a:lnTo>
                    <a:lnTo>
                      <a:pt x="1487" y="151"/>
                    </a:lnTo>
                    <a:lnTo>
                      <a:pt x="1460" y="131"/>
                    </a:lnTo>
                    <a:lnTo>
                      <a:pt x="1432" y="113"/>
                    </a:lnTo>
                    <a:lnTo>
                      <a:pt x="1402" y="98"/>
                    </a:lnTo>
                    <a:lnTo>
                      <a:pt x="1372" y="82"/>
                    </a:lnTo>
                    <a:lnTo>
                      <a:pt x="1339" y="68"/>
                    </a:lnTo>
                    <a:lnTo>
                      <a:pt x="1306" y="57"/>
                    </a:lnTo>
                    <a:lnTo>
                      <a:pt x="1271" y="45"/>
                    </a:lnTo>
                    <a:lnTo>
                      <a:pt x="1236" y="36"/>
                    </a:lnTo>
                    <a:lnTo>
                      <a:pt x="1199" y="27"/>
                    </a:lnTo>
                    <a:lnTo>
                      <a:pt x="1162" y="20"/>
                    </a:lnTo>
                    <a:lnTo>
                      <a:pt x="1123" y="14"/>
                    </a:lnTo>
                    <a:lnTo>
                      <a:pt x="1083" y="9"/>
                    </a:lnTo>
                    <a:lnTo>
                      <a:pt x="1043" y="5"/>
                    </a:lnTo>
                    <a:lnTo>
                      <a:pt x="1001" y="2"/>
                    </a:lnTo>
                    <a:lnTo>
                      <a:pt x="959" y="1"/>
                    </a:lnTo>
                    <a:lnTo>
                      <a:pt x="916" y="0"/>
                    </a:lnTo>
                    <a:lnTo>
                      <a:pt x="872" y="1"/>
                    </a:lnTo>
                    <a:lnTo>
                      <a:pt x="831" y="3"/>
                    </a:lnTo>
                    <a:lnTo>
                      <a:pt x="789" y="5"/>
                    </a:lnTo>
                    <a:lnTo>
                      <a:pt x="748" y="10"/>
                    </a:lnTo>
                    <a:lnTo>
                      <a:pt x="709" y="15"/>
                    </a:lnTo>
                    <a:lnTo>
                      <a:pt x="670" y="21"/>
                    </a:lnTo>
                    <a:lnTo>
                      <a:pt x="631" y="30"/>
                    </a:lnTo>
                    <a:lnTo>
                      <a:pt x="593" y="39"/>
                    </a:lnTo>
                    <a:lnTo>
                      <a:pt x="556" y="48"/>
                    </a:lnTo>
                    <a:lnTo>
                      <a:pt x="520" y="61"/>
                    </a:lnTo>
                    <a:lnTo>
                      <a:pt x="486" y="74"/>
                    </a:lnTo>
                    <a:lnTo>
                      <a:pt x="452" y="88"/>
                    </a:lnTo>
                    <a:lnTo>
                      <a:pt x="419" y="104"/>
                    </a:lnTo>
                    <a:lnTo>
                      <a:pt x="388" y="121"/>
                    </a:lnTo>
                    <a:lnTo>
                      <a:pt x="357" y="140"/>
                    </a:lnTo>
                    <a:lnTo>
                      <a:pt x="328" y="160"/>
                    </a:lnTo>
                    <a:lnTo>
                      <a:pt x="301" y="180"/>
                    </a:lnTo>
                    <a:lnTo>
                      <a:pt x="274" y="204"/>
                    </a:lnTo>
                    <a:lnTo>
                      <a:pt x="249" y="229"/>
                    </a:lnTo>
                    <a:lnTo>
                      <a:pt x="226" y="255"/>
                    </a:lnTo>
                    <a:lnTo>
                      <a:pt x="204" y="282"/>
                    </a:lnTo>
                    <a:lnTo>
                      <a:pt x="184" y="311"/>
                    </a:lnTo>
                    <a:lnTo>
                      <a:pt x="166" y="342"/>
                    </a:lnTo>
                    <a:lnTo>
                      <a:pt x="149" y="374"/>
                    </a:lnTo>
                    <a:lnTo>
                      <a:pt x="134" y="408"/>
                    </a:lnTo>
                    <a:lnTo>
                      <a:pt x="121" y="444"/>
                    </a:lnTo>
                    <a:lnTo>
                      <a:pt x="109" y="481"/>
                    </a:lnTo>
                    <a:lnTo>
                      <a:pt x="100" y="520"/>
                    </a:lnTo>
                    <a:lnTo>
                      <a:pt x="93" y="561"/>
                    </a:lnTo>
                    <a:lnTo>
                      <a:pt x="87" y="603"/>
                    </a:lnTo>
                    <a:lnTo>
                      <a:pt x="84" y="647"/>
                    </a:lnTo>
                    <a:lnTo>
                      <a:pt x="83" y="693"/>
                    </a:lnTo>
                    <a:lnTo>
                      <a:pt x="579" y="693"/>
                    </a:lnTo>
                    <a:lnTo>
                      <a:pt x="580" y="673"/>
                    </a:lnTo>
                    <a:lnTo>
                      <a:pt x="581" y="654"/>
                    </a:lnTo>
                    <a:lnTo>
                      <a:pt x="582" y="635"/>
                    </a:lnTo>
                    <a:lnTo>
                      <a:pt x="584" y="616"/>
                    </a:lnTo>
                    <a:lnTo>
                      <a:pt x="588" y="600"/>
                    </a:lnTo>
                    <a:lnTo>
                      <a:pt x="592" y="582"/>
                    </a:lnTo>
                    <a:lnTo>
                      <a:pt x="596" y="566"/>
                    </a:lnTo>
                    <a:lnTo>
                      <a:pt x="601" y="550"/>
                    </a:lnTo>
                    <a:lnTo>
                      <a:pt x="607" y="535"/>
                    </a:lnTo>
                    <a:lnTo>
                      <a:pt x="613" y="520"/>
                    </a:lnTo>
                    <a:lnTo>
                      <a:pt x="620" y="506"/>
                    </a:lnTo>
                    <a:lnTo>
                      <a:pt x="628" y="493"/>
                    </a:lnTo>
                    <a:lnTo>
                      <a:pt x="636" y="480"/>
                    </a:lnTo>
                    <a:lnTo>
                      <a:pt x="644" y="468"/>
                    </a:lnTo>
                    <a:lnTo>
                      <a:pt x="655" y="456"/>
                    </a:lnTo>
                    <a:lnTo>
                      <a:pt x="664" y="445"/>
                    </a:lnTo>
                    <a:lnTo>
                      <a:pt x="676" y="435"/>
                    </a:lnTo>
                    <a:lnTo>
                      <a:pt x="687" y="425"/>
                    </a:lnTo>
                    <a:lnTo>
                      <a:pt x="699" y="416"/>
                    </a:lnTo>
                    <a:lnTo>
                      <a:pt x="712" y="408"/>
                    </a:lnTo>
                    <a:lnTo>
                      <a:pt x="725" y="400"/>
                    </a:lnTo>
                    <a:lnTo>
                      <a:pt x="740" y="393"/>
                    </a:lnTo>
                    <a:lnTo>
                      <a:pt x="755" y="386"/>
                    </a:lnTo>
                    <a:lnTo>
                      <a:pt x="769" y="381"/>
                    </a:lnTo>
                    <a:lnTo>
                      <a:pt x="785" y="375"/>
                    </a:lnTo>
                    <a:lnTo>
                      <a:pt x="802" y="371"/>
                    </a:lnTo>
                    <a:lnTo>
                      <a:pt x="820" y="367"/>
                    </a:lnTo>
                    <a:lnTo>
                      <a:pt x="838" y="364"/>
                    </a:lnTo>
                    <a:lnTo>
                      <a:pt x="856" y="362"/>
                    </a:lnTo>
                    <a:lnTo>
                      <a:pt x="876" y="360"/>
                    </a:lnTo>
                    <a:lnTo>
                      <a:pt x="895" y="359"/>
                    </a:lnTo>
                    <a:lnTo>
                      <a:pt x="916" y="359"/>
                    </a:lnTo>
                    <a:lnTo>
                      <a:pt x="939" y="359"/>
                    </a:lnTo>
                    <a:lnTo>
                      <a:pt x="961" y="361"/>
                    </a:lnTo>
                    <a:lnTo>
                      <a:pt x="982" y="363"/>
                    </a:lnTo>
                    <a:lnTo>
                      <a:pt x="1002" y="367"/>
                    </a:lnTo>
                    <a:lnTo>
                      <a:pt x="1020" y="371"/>
                    </a:lnTo>
                    <a:lnTo>
                      <a:pt x="1038" y="376"/>
                    </a:lnTo>
                    <a:lnTo>
                      <a:pt x="1054" y="383"/>
                    </a:lnTo>
                    <a:lnTo>
                      <a:pt x="1070" y="390"/>
                    </a:lnTo>
                    <a:lnTo>
                      <a:pt x="1085" y="398"/>
                    </a:lnTo>
                    <a:lnTo>
                      <a:pt x="1098" y="408"/>
                    </a:lnTo>
                    <a:lnTo>
                      <a:pt x="1112" y="417"/>
                    </a:lnTo>
                    <a:lnTo>
                      <a:pt x="1124" y="428"/>
                    </a:lnTo>
                    <a:lnTo>
                      <a:pt x="1135" y="439"/>
                    </a:lnTo>
                    <a:lnTo>
                      <a:pt x="1146" y="451"/>
                    </a:lnTo>
                    <a:lnTo>
                      <a:pt x="1155" y="463"/>
                    </a:lnTo>
                    <a:lnTo>
                      <a:pt x="1165" y="477"/>
                    </a:lnTo>
                    <a:lnTo>
                      <a:pt x="1172" y="491"/>
                    </a:lnTo>
                    <a:lnTo>
                      <a:pt x="1180" y="505"/>
                    </a:lnTo>
                    <a:lnTo>
                      <a:pt x="1187" y="521"/>
                    </a:lnTo>
                    <a:lnTo>
                      <a:pt x="1193" y="537"/>
                    </a:lnTo>
                    <a:lnTo>
                      <a:pt x="1198" y="553"/>
                    </a:lnTo>
                    <a:lnTo>
                      <a:pt x="1204" y="569"/>
                    </a:lnTo>
                    <a:lnTo>
                      <a:pt x="1208" y="587"/>
                    </a:lnTo>
                    <a:lnTo>
                      <a:pt x="1211" y="604"/>
                    </a:lnTo>
                    <a:lnTo>
                      <a:pt x="1217" y="641"/>
                    </a:lnTo>
                    <a:lnTo>
                      <a:pt x="1220" y="678"/>
                    </a:lnTo>
                    <a:lnTo>
                      <a:pt x="1223" y="717"/>
                    </a:lnTo>
                    <a:lnTo>
                      <a:pt x="1224" y="758"/>
                    </a:lnTo>
                    <a:lnTo>
                      <a:pt x="1224" y="973"/>
                    </a:lnTo>
                    <a:lnTo>
                      <a:pt x="1128" y="976"/>
                    </a:lnTo>
                    <a:lnTo>
                      <a:pt x="1028" y="982"/>
                    </a:lnTo>
                    <a:lnTo>
                      <a:pt x="978" y="985"/>
                    </a:lnTo>
                    <a:lnTo>
                      <a:pt x="926" y="991"/>
                    </a:lnTo>
                    <a:lnTo>
                      <a:pt x="875" y="996"/>
                    </a:lnTo>
                    <a:lnTo>
                      <a:pt x="823" y="1002"/>
                    </a:lnTo>
                    <a:lnTo>
                      <a:pt x="772" y="1009"/>
                    </a:lnTo>
                    <a:lnTo>
                      <a:pt x="720" y="1018"/>
                    </a:lnTo>
                    <a:lnTo>
                      <a:pt x="669" y="1028"/>
                    </a:lnTo>
                    <a:lnTo>
                      <a:pt x="618" y="1040"/>
                    </a:lnTo>
                    <a:lnTo>
                      <a:pt x="569" y="1052"/>
                    </a:lnTo>
                    <a:lnTo>
                      <a:pt x="519" y="1067"/>
                    </a:lnTo>
                    <a:lnTo>
                      <a:pt x="472" y="1084"/>
                    </a:lnTo>
                    <a:lnTo>
                      <a:pt x="426" y="1102"/>
                    </a:lnTo>
                    <a:lnTo>
                      <a:pt x="381" y="1122"/>
                    </a:lnTo>
                    <a:lnTo>
                      <a:pt x="337" y="1144"/>
                    </a:lnTo>
                    <a:lnTo>
                      <a:pt x="295" y="1168"/>
                    </a:lnTo>
                    <a:lnTo>
                      <a:pt x="256" y="1193"/>
                    </a:lnTo>
                    <a:lnTo>
                      <a:pt x="219" y="1222"/>
                    </a:lnTo>
                    <a:lnTo>
                      <a:pt x="184" y="1253"/>
                    </a:lnTo>
                    <a:lnTo>
                      <a:pt x="151" y="1286"/>
                    </a:lnTo>
                    <a:lnTo>
                      <a:pt x="121" y="1322"/>
                    </a:lnTo>
                    <a:lnTo>
                      <a:pt x="95" y="1360"/>
                    </a:lnTo>
                    <a:lnTo>
                      <a:pt x="70" y="1401"/>
                    </a:lnTo>
                    <a:lnTo>
                      <a:pt x="49" y="1445"/>
                    </a:lnTo>
                    <a:lnTo>
                      <a:pt x="33" y="1493"/>
                    </a:lnTo>
                    <a:lnTo>
                      <a:pt x="18" y="1542"/>
                    </a:lnTo>
                    <a:lnTo>
                      <a:pt x="8" y="1595"/>
                    </a:lnTo>
                    <a:lnTo>
                      <a:pt x="2" y="1652"/>
                    </a:lnTo>
                    <a:lnTo>
                      <a:pt x="0" y="1712"/>
                    </a:lnTo>
                    <a:lnTo>
                      <a:pt x="1" y="1746"/>
                    </a:lnTo>
                    <a:lnTo>
                      <a:pt x="3" y="1780"/>
                    </a:lnTo>
                    <a:lnTo>
                      <a:pt x="7" y="1811"/>
                    </a:lnTo>
                    <a:lnTo>
                      <a:pt x="14" y="1843"/>
                    </a:lnTo>
                    <a:lnTo>
                      <a:pt x="21" y="1873"/>
                    </a:lnTo>
                    <a:lnTo>
                      <a:pt x="29" y="1902"/>
                    </a:lnTo>
                    <a:lnTo>
                      <a:pt x="40" y="1931"/>
                    </a:lnTo>
                    <a:lnTo>
                      <a:pt x="52" y="1958"/>
                    </a:lnTo>
                    <a:lnTo>
                      <a:pt x="64" y="1984"/>
                    </a:lnTo>
                    <a:lnTo>
                      <a:pt x="79" y="2009"/>
                    </a:lnTo>
                    <a:lnTo>
                      <a:pt x="95" y="2033"/>
                    </a:lnTo>
                    <a:lnTo>
                      <a:pt x="111" y="2057"/>
                    </a:lnTo>
                    <a:lnTo>
                      <a:pt x="129" y="2079"/>
                    </a:lnTo>
                    <a:lnTo>
                      <a:pt x="149" y="2099"/>
                    </a:lnTo>
                    <a:lnTo>
                      <a:pt x="169" y="2119"/>
                    </a:lnTo>
                    <a:lnTo>
                      <a:pt x="191" y="2137"/>
                    </a:lnTo>
                    <a:lnTo>
                      <a:pt x="213" y="2155"/>
                    </a:lnTo>
                    <a:lnTo>
                      <a:pt x="237" y="2172"/>
                    </a:lnTo>
                    <a:lnTo>
                      <a:pt x="262" y="2188"/>
                    </a:lnTo>
                    <a:lnTo>
                      <a:pt x="287" y="2201"/>
                    </a:lnTo>
                    <a:lnTo>
                      <a:pt x="312" y="2215"/>
                    </a:lnTo>
                    <a:lnTo>
                      <a:pt x="340" y="2227"/>
                    </a:lnTo>
                    <a:lnTo>
                      <a:pt x="367" y="2238"/>
                    </a:lnTo>
                    <a:lnTo>
                      <a:pt x="396" y="2247"/>
                    </a:lnTo>
                    <a:lnTo>
                      <a:pt x="425" y="2257"/>
                    </a:lnTo>
                    <a:lnTo>
                      <a:pt x="455" y="2264"/>
                    </a:lnTo>
                    <a:lnTo>
                      <a:pt x="485" y="2270"/>
                    </a:lnTo>
                    <a:lnTo>
                      <a:pt x="516" y="2276"/>
                    </a:lnTo>
                    <a:lnTo>
                      <a:pt x="548" y="2280"/>
                    </a:lnTo>
                    <a:lnTo>
                      <a:pt x="579" y="2283"/>
                    </a:lnTo>
                    <a:lnTo>
                      <a:pt x="612" y="2284"/>
                    </a:lnTo>
                    <a:lnTo>
                      <a:pt x="644" y="2285"/>
                    </a:lnTo>
                    <a:lnTo>
                      <a:pt x="689" y="2284"/>
                    </a:lnTo>
                    <a:lnTo>
                      <a:pt x="733" y="2281"/>
                    </a:lnTo>
                    <a:lnTo>
                      <a:pt x="755" y="2279"/>
                    </a:lnTo>
                    <a:lnTo>
                      <a:pt x="776" y="2277"/>
                    </a:lnTo>
                    <a:lnTo>
                      <a:pt x="797" y="2273"/>
                    </a:lnTo>
                    <a:lnTo>
                      <a:pt x="819" y="2269"/>
                    </a:lnTo>
                    <a:lnTo>
                      <a:pt x="839" y="2265"/>
                    </a:lnTo>
                    <a:lnTo>
                      <a:pt x="860" y="2260"/>
                    </a:lnTo>
                    <a:lnTo>
                      <a:pt x="880" y="2255"/>
                    </a:lnTo>
                    <a:lnTo>
                      <a:pt x="901" y="2248"/>
                    </a:lnTo>
                    <a:lnTo>
                      <a:pt x="920" y="2242"/>
                    </a:lnTo>
                    <a:lnTo>
                      <a:pt x="940" y="2235"/>
                    </a:lnTo>
                    <a:lnTo>
                      <a:pt x="959" y="2226"/>
                    </a:lnTo>
                    <a:lnTo>
                      <a:pt x="978" y="2218"/>
                    </a:lnTo>
                    <a:lnTo>
                      <a:pt x="995" y="2208"/>
                    </a:lnTo>
                    <a:lnTo>
                      <a:pt x="1013" y="2199"/>
                    </a:lnTo>
                    <a:lnTo>
                      <a:pt x="1031" y="2189"/>
                    </a:lnTo>
                    <a:lnTo>
                      <a:pt x="1048" y="2177"/>
                    </a:lnTo>
                    <a:lnTo>
                      <a:pt x="1065" y="2164"/>
                    </a:lnTo>
                    <a:lnTo>
                      <a:pt x="1082" y="2152"/>
                    </a:lnTo>
                    <a:lnTo>
                      <a:pt x="1097" y="2138"/>
                    </a:lnTo>
                    <a:lnTo>
                      <a:pt x="1112" y="2125"/>
                    </a:lnTo>
                    <a:lnTo>
                      <a:pt x="1127" y="2110"/>
                    </a:lnTo>
                    <a:lnTo>
                      <a:pt x="1142" y="2094"/>
                    </a:lnTo>
                    <a:lnTo>
                      <a:pt x="1155" y="2077"/>
                    </a:lnTo>
                    <a:lnTo>
                      <a:pt x="1168" y="2060"/>
                    </a:lnTo>
                    <a:lnTo>
                      <a:pt x="1180" y="2042"/>
                    </a:lnTo>
                    <a:lnTo>
                      <a:pt x="1192" y="2023"/>
                    </a:lnTo>
                    <a:lnTo>
                      <a:pt x="1204" y="2003"/>
                    </a:lnTo>
                    <a:lnTo>
                      <a:pt x="1214" y="1982"/>
                    </a:lnTo>
                    <a:lnTo>
                      <a:pt x="1224" y="1982"/>
                    </a:lnTo>
                    <a:lnTo>
                      <a:pt x="1224" y="2235"/>
                    </a:lnTo>
                    <a:lnTo>
                      <a:pt x="1711" y="2235"/>
                    </a:lnTo>
                    <a:close/>
                    <a:moveTo>
                      <a:pt x="1224" y="1272"/>
                    </a:moveTo>
                    <a:lnTo>
                      <a:pt x="1224" y="1298"/>
                    </a:lnTo>
                    <a:lnTo>
                      <a:pt x="1223" y="1325"/>
                    </a:lnTo>
                    <a:lnTo>
                      <a:pt x="1220" y="1352"/>
                    </a:lnTo>
                    <a:lnTo>
                      <a:pt x="1218" y="1379"/>
                    </a:lnTo>
                    <a:lnTo>
                      <a:pt x="1215" y="1408"/>
                    </a:lnTo>
                    <a:lnTo>
                      <a:pt x="1211" y="1436"/>
                    </a:lnTo>
                    <a:lnTo>
                      <a:pt x="1206" y="1463"/>
                    </a:lnTo>
                    <a:lnTo>
                      <a:pt x="1200" y="1492"/>
                    </a:lnTo>
                    <a:lnTo>
                      <a:pt x="1194" y="1520"/>
                    </a:lnTo>
                    <a:lnTo>
                      <a:pt x="1187" y="1547"/>
                    </a:lnTo>
                    <a:lnTo>
                      <a:pt x="1178" y="1574"/>
                    </a:lnTo>
                    <a:lnTo>
                      <a:pt x="1169" y="1602"/>
                    </a:lnTo>
                    <a:lnTo>
                      <a:pt x="1159" y="1628"/>
                    </a:lnTo>
                    <a:lnTo>
                      <a:pt x="1148" y="1654"/>
                    </a:lnTo>
                    <a:lnTo>
                      <a:pt x="1136" y="1679"/>
                    </a:lnTo>
                    <a:lnTo>
                      <a:pt x="1124" y="1704"/>
                    </a:lnTo>
                    <a:lnTo>
                      <a:pt x="1110" y="1727"/>
                    </a:lnTo>
                    <a:lnTo>
                      <a:pt x="1095" y="1750"/>
                    </a:lnTo>
                    <a:lnTo>
                      <a:pt x="1079" y="1772"/>
                    </a:lnTo>
                    <a:lnTo>
                      <a:pt x="1062" y="1793"/>
                    </a:lnTo>
                    <a:lnTo>
                      <a:pt x="1044" y="1813"/>
                    </a:lnTo>
                    <a:lnTo>
                      <a:pt x="1025" y="1831"/>
                    </a:lnTo>
                    <a:lnTo>
                      <a:pt x="1004" y="1849"/>
                    </a:lnTo>
                    <a:lnTo>
                      <a:pt x="983" y="1864"/>
                    </a:lnTo>
                    <a:lnTo>
                      <a:pt x="961" y="1878"/>
                    </a:lnTo>
                    <a:lnTo>
                      <a:pt x="937" y="1891"/>
                    </a:lnTo>
                    <a:lnTo>
                      <a:pt x="911" y="1901"/>
                    </a:lnTo>
                    <a:lnTo>
                      <a:pt x="885" y="1911"/>
                    </a:lnTo>
                    <a:lnTo>
                      <a:pt x="858" y="1918"/>
                    </a:lnTo>
                    <a:lnTo>
                      <a:pt x="829" y="1923"/>
                    </a:lnTo>
                    <a:lnTo>
                      <a:pt x="799" y="1927"/>
                    </a:lnTo>
                    <a:lnTo>
                      <a:pt x="768" y="1928"/>
                    </a:lnTo>
                    <a:lnTo>
                      <a:pt x="753" y="1927"/>
                    </a:lnTo>
                    <a:lnTo>
                      <a:pt x="737" y="1927"/>
                    </a:lnTo>
                    <a:lnTo>
                      <a:pt x="722" y="1924"/>
                    </a:lnTo>
                    <a:lnTo>
                      <a:pt x="707" y="1923"/>
                    </a:lnTo>
                    <a:lnTo>
                      <a:pt x="694" y="1921"/>
                    </a:lnTo>
                    <a:lnTo>
                      <a:pt x="680" y="1918"/>
                    </a:lnTo>
                    <a:lnTo>
                      <a:pt x="666" y="1915"/>
                    </a:lnTo>
                    <a:lnTo>
                      <a:pt x="654" y="1911"/>
                    </a:lnTo>
                    <a:lnTo>
                      <a:pt x="641" y="1907"/>
                    </a:lnTo>
                    <a:lnTo>
                      <a:pt x="630" y="1901"/>
                    </a:lnTo>
                    <a:lnTo>
                      <a:pt x="618" y="1896"/>
                    </a:lnTo>
                    <a:lnTo>
                      <a:pt x="608" y="1890"/>
                    </a:lnTo>
                    <a:lnTo>
                      <a:pt x="597" y="1884"/>
                    </a:lnTo>
                    <a:lnTo>
                      <a:pt x="587" y="1877"/>
                    </a:lnTo>
                    <a:lnTo>
                      <a:pt x="577" y="1870"/>
                    </a:lnTo>
                    <a:lnTo>
                      <a:pt x="569" y="1862"/>
                    </a:lnTo>
                    <a:lnTo>
                      <a:pt x="560" y="1853"/>
                    </a:lnTo>
                    <a:lnTo>
                      <a:pt x="552" y="1845"/>
                    </a:lnTo>
                    <a:lnTo>
                      <a:pt x="545" y="1835"/>
                    </a:lnTo>
                    <a:lnTo>
                      <a:pt x="538" y="1825"/>
                    </a:lnTo>
                    <a:lnTo>
                      <a:pt x="531" y="1814"/>
                    </a:lnTo>
                    <a:lnTo>
                      <a:pt x="526" y="1804"/>
                    </a:lnTo>
                    <a:lnTo>
                      <a:pt x="520" y="1792"/>
                    </a:lnTo>
                    <a:lnTo>
                      <a:pt x="515" y="1780"/>
                    </a:lnTo>
                    <a:lnTo>
                      <a:pt x="511" y="1767"/>
                    </a:lnTo>
                    <a:lnTo>
                      <a:pt x="507" y="1755"/>
                    </a:lnTo>
                    <a:lnTo>
                      <a:pt x="504" y="1741"/>
                    </a:lnTo>
                    <a:lnTo>
                      <a:pt x="501" y="1726"/>
                    </a:lnTo>
                    <a:lnTo>
                      <a:pt x="499" y="1713"/>
                    </a:lnTo>
                    <a:lnTo>
                      <a:pt x="498" y="1697"/>
                    </a:lnTo>
                    <a:lnTo>
                      <a:pt x="497" y="1681"/>
                    </a:lnTo>
                    <a:lnTo>
                      <a:pt x="497" y="1666"/>
                    </a:lnTo>
                    <a:lnTo>
                      <a:pt x="498" y="1635"/>
                    </a:lnTo>
                    <a:lnTo>
                      <a:pt x="502" y="1607"/>
                    </a:lnTo>
                    <a:lnTo>
                      <a:pt x="509" y="1580"/>
                    </a:lnTo>
                    <a:lnTo>
                      <a:pt x="518" y="1553"/>
                    </a:lnTo>
                    <a:lnTo>
                      <a:pt x="530" y="1529"/>
                    </a:lnTo>
                    <a:lnTo>
                      <a:pt x="542" y="1506"/>
                    </a:lnTo>
                    <a:lnTo>
                      <a:pt x="558" y="1485"/>
                    </a:lnTo>
                    <a:lnTo>
                      <a:pt x="576" y="1464"/>
                    </a:lnTo>
                    <a:lnTo>
                      <a:pt x="595" y="1445"/>
                    </a:lnTo>
                    <a:lnTo>
                      <a:pt x="616" y="1428"/>
                    </a:lnTo>
                    <a:lnTo>
                      <a:pt x="639" y="1411"/>
                    </a:lnTo>
                    <a:lnTo>
                      <a:pt x="662" y="1396"/>
                    </a:lnTo>
                    <a:lnTo>
                      <a:pt x="687" y="1382"/>
                    </a:lnTo>
                    <a:lnTo>
                      <a:pt x="714" y="1368"/>
                    </a:lnTo>
                    <a:lnTo>
                      <a:pt x="741" y="1356"/>
                    </a:lnTo>
                    <a:lnTo>
                      <a:pt x="768" y="1345"/>
                    </a:lnTo>
                    <a:lnTo>
                      <a:pt x="798" y="1334"/>
                    </a:lnTo>
                    <a:lnTo>
                      <a:pt x="826" y="1325"/>
                    </a:lnTo>
                    <a:lnTo>
                      <a:pt x="857" y="1317"/>
                    </a:lnTo>
                    <a:lnTo>
                      <a:pt x="886" y="1309"/>
                    </a:lnTo>
                    <a:lnTo>
                      <a:pt x="917" y="1302"/>
                    </a:lnTo>
                    <a:lnTo>
                      <a:pt x="947" y="1297"/>
                    </a:lnTo>
                    <a:lnTo>
                      <a:pt x="978" y="1291"/>
                    </a:lnTo>
                    <a:lnTo>
                      <a:pt x="1007" y="1286"/>
                    </a:lnTo>
                    <a:lnTo>
                      <a:pt x="1066" y="1279"/>
                    </a:lnTo>
                    <a:lnTo>
                      <a:pt x="1123" y="1275"/>
                    </a:lnTo>
                    <a:lnTo>
                      <a:pt x="1175" y="1272"/>
                    </a:lnTo>
                    <a:lnTo>
                      <a:pt x="1224" y="127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7" name="Freeform 6"/>
              <p:cNvSpPr>
                <a:spLocks/>
              </p:cNvSpPr>
              <p:nvPr userDrawn="1"/>
            </p:nvSpPr>
            <p:spPr bwMode="auto">
              <a:xfrm>
                <a:off x="1211263" y="2555875"/>
                <a:ext cx="265112" cy="330200"/>
              </a:xfrm>
              <a:custGeom>
                <a:avLst/>
                <a:gdLst/>
                <a:ahLst/>
                <a:cxnLst>
                  <a:cxn ang="0">
                    <a:pos x="1287" y="695"/>
                  </a:cxn>
                  <a:cxn ang="0">
                    <a:pos x="1274" y="616"/>
                  </a:cxn>
                  <a:cxn ang="0">
                    <a:pos x="1251" y="543"/>
                  </a:cxn>
                  <a:cxn ang="0">
                    <a:pos x="1217" y="479"/>
                  </a:cxn>
                  <a:cxn ang="0">
                    <a:pos x="1170" y="427"/>
                  </a:cxn>
                  <a:cxn ang="0">
                    <a:pos x="1109" y="387"/>
                  </a:cxn>
                  <a:cxn ang="0">
                    <a:pos x="1031" y="364"/>
                  </a:cxn>
                  <a:cxn ang="0">
                    <a:pos x="931" y="360"/>
                  </a:cxn>
                  <a:cxn ang="0">
                    <a:pos x="826" y="382"/>
                  </a:cxn>
                  <a:cxn ang="0">
                    <a:pos x="740" y="429"/>
                  </a:cxn>
                  <a:cxn ang="0">
                    <a:pos x="672" y="497"/>
                  </a:cxn>
                  <a:cxn ang="0">
                    <a:pos x="619" y="581"/>
                  </a:cxn>
                  <a:cxn ang="0">
                    <a:pos x="582" y="676"/>
                  </a:cxn>
                  <a:cxn ang="0">
                    <a:pos x="558" y="777"/>
                  </a:cxn>
                  <a:cxn ang="0">
                    <a:pos x="546" y="880"/>
                  </a:cxn>
                  <a:cxn ang="0">
                    <a:pos x="544" y="1006"/>
                  </a:cxn>
                  <a:cxn ang="0">
                    <a:pos x="566" y="1202"/>
                  </a:cxn>
                  <a:cxn ang="0">
                    <a:pos x="617" y="1383"/>
                  </a:cxn>
                  <a:cxn ang="0">
                    <a:pos x="698" y="1543"/>
                  </a:cxn>
                  <a:cxn ang="0">
                    <a:pos x="805" y="1679"/>
                  </a:cxn>
                  <a:cxn ang="0">
                    <a:pos x="941" y="1789"/>
                  </a:cxn>
                  <a:cxn ang="0">
                    <a:pos x="1102" y="1870"/>
                  </a:cxn>
                  <a:cxn ang="0">
                    <a:pos x="1288" y="1916"/>
                  </a:cxn>
                  <a:cxn ang="0">
                    <a:pos x="1491" y="1927"/>
                  </a:cxn>
                  <a:cxn ang="0">
                    <a:pos x="1653" y="1912"/>
                  </a:cxn>
                  <a:cxn ang="0">
                    <a:pos x="1745" y="1893"/>
                  </a:cxn>
                  <a:cxn ang="0">
                    <a:pos x="1812" y="2184"/>
                  </a:cxn>
                  <a:cxn ang="0">
                    <a:pos x="1656" y="2227"/>
                  </a:cxn>
                  <a:cxn ang="0">
                    <a:pos x="1496" y="2259"/>
                  </a:cxn>
                  <a:cxn ang="0">
                    <a:pos x="1335" y="2279"/>
                  </a:cxn>
                  <a:cxn ang="0">
                    <a:pos x="1173" y="2285"/>
                  </a:cxn>
                  <a:cxn ang="0">
                    <a:pos x="898" y="2263"/>
                  </a:cxn>
                  <a:cxn ang="0">
                    <a:pos x="659" y="2199"/>
                  </a:cxn>
                  <a:cxn ang="0">
                    <a:pos x="458" y="2094"/>
                  </a:cxn>
                  <a:cxn ang="0">
                    <a:pos x="293" y="1952"/>
                  </a:cxn>
                  <a:cxn ang="0">
                    <a:pos x="165" y="1772"/>
                  </a:cxn>
                  <a:cxn ang="0">
                    <a:pos x="73" y="1561"/>
                  </a:cxn>
                  <a:cxn ang="0">
                    <a:pos x="18" y="1319"/>
                  </a:cxn>
                  <a:cxn ang="0">
                    <a:pos x="0" y="1046"/>
                  </a:cxn>
                  <a:cxn ang="0">
                    <a:pos x="16" y="820"/>
                  </a:cxn>
                  <a:cxn ang="0">
                    <a:pos x="64" y="616"/>
                  </a:cxn>
                  <a:cxn ang="0">
                    <a:pos x="144" y="437"/>
                  </a:cxn>
                  <a:cxn ang="0">
                    <a:pos x="255" y="286"/>
                  </a:cxn>
                  <a:cxn ang="0">
                    <a:pos x="396" y="165"/>
                  </a:cxn>
                  <a:cxn ang="0">
                    <a:pos x="569" y="75"/>
                  </a:cxn>
                  <a:cxn ang="0">
                    <a:pos x="771" y="19"/>
                  </a:cxn>
                  <a:cxn ang="0">
                    <a:pos x="1003" y="0"/>
                  </a:cxn>
                  <a:cxn ang="0">
                    <a:pos x="1192" y="13"/>
                  </a:cxn>
                  <a:cxn ang="0">
                    <a:pos x="1358" y="49"/>
                  </a:cxn>
                  <a:cxn ang="0">
                    <a:pos x="1501" y="111"/>
                  </a:cxn>
                  <a:cxn ang="0">
                    <a:pos x="1619" y="198"/>
                  </a:cxn>
                  <a:cxn ang="0">
                    <a:pos x="1713" y="310"/>
                  </a:cxn>
                  <a:cxn ang="0">
                    <a:pos x="1781" y="448"/>
                  </a:cxn>
                  <a:cxn ang="0">
                    <a:pos x="1822" y="610"/>
                  </a:cxn>
                  <a:cxn ang="0">
                    <a:pos x="1836" y="799"/>
                  </a:cxn>
                </a:cxnLst>
                <a:rect l="0" t="0" r="r" b="b"/>
                <a:pathLst>
                  <a:path w="1836" h="2285">
                    <a:moveTo>
                      <a:pt x="1293" y="799"/>
                    </a:moveTo>
                    <a:lnTo>
                      <a:pt x="1292" y="757"/>
                    </a:lnTo>
                    <a:lnTo>
                      <a:pt x="1289" y="715"/>
                    </a:lnTo>
                    <a:lnTo>
                      <a:pt x="1287" y="695"/>
                    </a:lnTo>
                    <a:lnTo>
                      <a:pt x="1285" y="675"/>
                    </a:lnTo>
                    <a:lnTo>
                      <a:pt x="1282" y="655"/>
                    </a:lnTo>
                    <a:lnTo>
                      <a:pt x="1278" y="635"/>
                    </a:lnTo>
                    <a:lnTo>
                      <a:pt x="1274" y="616"/>
                    </a:lnTo>
                    <a:lnTo>
                      <a:pt x="1270" y="598"/>
                    </a:lnTo>
                    <a:lnTo>
                      <a:pt x="1264" y="579"/>
                    </a:lnTo>
                    <a:lnTo>
                      <a:pt x="1258" y="561"/>
                    </a:lnTo>
                    <a:lnTo>
                      <a:pt x="1251" y="543"/>
                    </a:lnTo>
                    <a:lnTo>
                      <a:pt x="1244" y="526"/>
                    </a:lnTo>
                    <a:lnTo>
                      <a:pt x="1236" y="511"/>
                    </a:lnTo>
                    <a:lnTo>
                      <a:pt x="1227" y="494"/>
                    </a:lnTo>
                    <a:lnTo>
                      <a:pt x="1217" y="479"/>
                    </a:lnTo>
                    <a:lnTo>
                      <a:pt x="1207" y="464"/>
                    </a:lnTo>
                    <a:lnTo>
                      <a:pt x="1195" y="452"/>
                    </a:lnTo>
                    <a:lnTo>
                      <a:pt x="1184" y="438"/>
                    </a:lnTo>
                    <a:lnTo>
                      <a:pt x="1170" y="427"/>
                    </a:lnTo>
                    <a:lnTo>
                      <a:pt x="1156" y="415"/>
                    </a:lnTo>
                    <a:lnTo>
                      <a:pt x="1142" y="405"/>
                    </a:lnTo>
                    <a:lnTo>
                      <a:pt x="1126" y="395"/>
                    </a:lnTo>
                    <a:lnTo>
                      <a:pt x="1109" y="387"/>
                    </a:lnTo>
                    <a:lnTo>
                      <a:pt x="1091" y="380"/>
                    </a:lnTo>
                    <a:lnTo>
                      <a:pt x="1072" y="373"/>
                    </a:lnTo>
                    <a:lnTo>
                      <a:pt x="1052" y="368"/>
                    </a:lnTo>
                    <a:lnTo>
                      <a:pt x="1031" y="364"/>
                    </a:lnTo>
                    <a:lnTo>
                      <a:pt x="1009" y="361"/>
                    </a:lnTo>
                    <a:lnTo>
                      <a:pt x="986" y="359"/>
                    </a:lnTo>
                    <a:lnTo>
                      <a:pt x="962" y="359"/>
                    </a:lnTo>
                    <a:lnTo>
                      <a:pt x="931" y="360"/>
                    </a:lnTo>
                    <a:lnTo>
                      <a:pt x="904" y="362"/>
                    </a:lnTo>
                    <a:lnTo>
                      <a:pt x="877" y="367"/>
                    </a:lnTo>
                    <a:lnTo>
                      <a:pt x="851" y="373"/>
                    </a:lnTo>
                    <a:lnTo>
                      <a:pt x="826" y="382"/>
                    </a:lnTo>
                    <a:lnTo>
                      <a:pt x="803" y="391"/>
                    </a:lnTo>
                    <a:lnTo>
                      <a:pt x="781" y="403"/>
                    </a:lnTo>
                    <a:lnTo>
                      <a:pt x="760" y="415"/>
                    </a:lnTo>
                    <a:lnTo>
                      <a:pt x="740" y="429"/>
                    </a:lnTo>
                    <a:lnTo>
                      <a:pt x="721" y="445"/>
                    </a:lnTo>
                    <a:lnTo>
                      <a:pt x="704" y="460"/>
                    </a:lnTo>
                    <a:lnTo>
                      <a:pt x="688" y="478"/>
                    </a:lnTo>
                    <a:lnTo>
                      <a:pt x="672" y="497"/>
                    </a:lnTo>
                    <a:lnTo>
                      <a:pt x="657" y="517"/>
                    </a:lnTo>
                    <a:lnTo>
                      <a:pt x="643" y="537"/>
                    </a:lnTo>
                    <a:lnTo>
                      <a:pt x="631" y="559"/>
                    </a:lnTo>
                    <a:lnTo>
                      <a:pt x="619" y="581"/>
                    </a:lnTo>
                    <a:lnTo>
                      <a:pt x="609" y="604"/>
                    </a:lnTo>
                    <a:lnTo>
                      <a:pt x="599" y="627"/>
                    </a:lnTo>
                    <a:lnTo>
                      <a:pt x="590" y="651"/>
                    </a:lnTo>
                    <a:lnTo>
                      <a:pt x="582" y="676"/>
                    </a:lnTo>
                    <a:lnTo>
                      <a:pt x="575" y="700"/>
                    </a:lnTo>
                    <a:lnTo>
                      <a:pt x="569" y="725"/>
                    </a:lnTo>
                    <a:lnTo>
                      <a:pt x="563" y="752"/>
                    </a:lnTo>
                    <a:lnTo>
                      <a:pt x="558" y="777"/>
                    </a:lnTo>
                    <a:lnTo>
                      <a:pt x="554" y="803"/>
                    </a:lnTo>
                    <a:lnTo>
                      <a:pt x="550" y="828"/>
                    </a:lnTo>
                    <a:lnTo>
                      <a:pt x="548" y="854"/>
                    </a:lnTo>
                    <a:lnTo>
                      <a:pt x="546" y="880"/>
                    </a:lnTo>
                    <a:lnTo>
                      <a:pt x="544" y="905"/>
                    </a:lnTo>
                    <a:lnTo>
                      <a:pt x="543" y="930"/>
                    </a:lnTo>
                    <a:lnTo>
                      <a:pt x="543" y="955"/>
                    </a:lnTo>
                    <a:lnTo>
                      <a:pt x="544" y="1006"/>
                    </a:lnTo>
                    <a:lnTo>
                      <a:pt x="547" y="1057"/>
                    </a:lnTo>
                    <a:lnTo>
                      <a:pt x="551" y="1106"/>
                    </a:lnTo>
                    <a:lnTo>
                      <a:pt x="557" y="1155"/>
                    </a:lnTo>
                    <a:lnTo>
                      <a:pt x="566" y="1202"/>
                    </a:lnTo>
                    <a:lnTo>
                      <a:pt x="576" y="1250"/>
                    </a:lnTo>
                    <a:lnTo>
                      <a:pt x="588" y="1295"/>
                    </a:lnTo>
                    <a:lnTo>
                      <a:pt x="602" y="1339"/>
                    </a:lnTo>
                    <a:lnTo>
                      <a:pt x="617" y="1383"/>
                    </a:lnTo>
                    <a:lnTo>
                      <a:pt x="635" y="1425"/>
                    </a:lnTo>
                    <a:lnTo>
                      <a:pt x="654" y="1465"/>
                    </a:lnTo>
                    <a:lnTo>
                      <a:pt x="675" y="1504"/>
                    </a:lnTo>
                    <a:lnTo>
                      <a:pt x="698" y="1543"/>
                    </a:lnTo>
                    <a:lnTo>
                      <a:pt x="722" y="1579"/>
                    </a:lnTo>
                    <a:lnTo>
                      <a:pt x="749" y="1614"/>
                    </a:lnTo>
                    <a:lnTo>
                      <a:pt x="776" y="1648"/>
                    </a:lnTo>
                    <a:lnTo>
                      <a:pt x="805" y="1679"/>
                    </a:lnTo>
                    <a:lnTo>
                      <a:pt x="837" y="1710"/>
                    </a:lnTo>
                    <a:lnTo>
                      <a:pt x="869" y="1738"/>
                    </a:lnTo>
                    <a:lnTo>
                      <a:pt x="904" y="1765"/>
                    </a:lnTo>
                    <a:lnTo>
                      <a:pt x="941" y="1789"/>
                    </a:lnTo>
                    <a:lnTo>
                      <a:pt x="979" y="1812"/>
                    </a:lnTo>
                    <a:lnTo>
                      <a:pt x="1018" y="1833"/>
                    </a:lnTo>
                    <a:lnTo>
                      <a:pt x="1059" y="1853"/>
                    </a:lnTo>
                    <a:lnTo>
                      <a:pt x="1102" y="1870"/>
                    </a:lnTo>
                    <a:lnTo>
                      <a:pt x="1146" y="1885"/>
                    </a:lnTo>
                    <a:lnTo>
                      <a:pt x="1192" y="1897"/>
                    </a:lnTo>
                    <a:lnTo>
                      <a:pt x="1239" y="1908"/>
                    </a:lnTo>
                    <a:lnTo>
                      <a:pt x="1288" y="1916"/>
                    </a:lnTo>
                    <a:lnTo>
                      <a:pt x="1338" y="1922"/>
                    </a:lnTo>
                    <a:lnTo>
                      <a:pt x="1391" y="1926"/>
                    </a:lnTo>
                    <a:lnTo>
                      <a:pt x="1444" y="1928"/>
                    </a:lnTo>
                    <a:lnTo>
                      <a:pt x="1491" y="1927"/>
                    </a:lnTo>
                    <a:lnTo>
                      <a:pt x="1537" y="1924"/>
                    </a:lnTo>
                    <a:lnTo>
                      <a:pt x="1584" y="1920"/>
                    </a:lnTo>
                    <a:lnTo>
                      <a:pt x="1631" y="1915"/>
                    </a:lnTo>
                    <a:lnTo>
                      <a:pt x="1653" y="1912"/>
                    </a:lnTo>
                    <a:lnTo>
                      <a:pt x="1676" y="1908"/>
                    </a:lnTo>
                    <a:lnTo>
                      <a:pt x="1699" y="1904"/>
                    </a:lnTo>
                    <a:lnTo>
                      <a:pt x="1722" y="1898"/>
                    </a:lnTo>
                    <a:lnTo>
                      <a:pt x="1745" y="1893"/>
                    </a:lnTo>
                    <a:lnTo>
                      <a:pt x="1767" y="1887"/>
                    </a:lnTo>
                    <a:lnTo>
                      <a:pt x="1790" y="1879"/>
                    </a:lnTo>
                    <a:lnTo>
                      <a:pt x="1812" y="1872"/>
                    </a:lnTo>
                    <a:lnTo>
                      <a:pt x="1812" y="2184"/>
                    </a:lnTo>
                    <a:lnTo>
                      <a:pt x="1773" y="2196"/>
                    </a:lnTo>
                    <a:lnTo>
                      <a:pt x="1735" y="2207"/>
                    </a:lnTo>
                    <a:lnTo>
                      <a:pt x="1695" y="2217"/>
                    </a:lnTo>
                    <a:lnTo>
                      <a:pt x="1656" y="2227"/>
                    </a:lnTo>
                    <a:lnTo>
                      <a:pt x="1616" y="2236"/>
                    </a:lnTo>
                    <a:lnTo>
                      <a:pt x="1576" y="2244"/>
                    </a:lnTo>
                    <a:lnTo>
                      <a:pt x="1536" y="2251"/>
                    </a:lnTo>
                    <a:lnTo>
                      <a:pt x="1496" y="2259"/>
                    </a:lnTo>
                    <a:lnTo>
                      <a:pt x="1456" y="2265"/>
                    </a:lnTo>
                    <a:lnTo>
                      <a:pt x="1416" y="2270"/>
                    </a:lnTo>
                    <a:lnTo>
                      <a:pt x="1375" y="2275"/>
                    </a:lnTo>
                    <a:lnTo>
                      <a:pt x="1335" y="2279"/>
                    </a:lnTo>
                    <a:lnTo>
                      <a:pt x="1294" y="2281"/>
                    </a:lnTo>
                    <a:lnTo>
                      <a:pt x="1254" y="2283"/>
                    </a:lnTo>
                    <a:lnTo>
                      <a:pt x="1213" y="2285"/>
                    </a:lnTo>
                    <a:lnTo>
                      <a:pt x="1173" y="2285"/>
                    </a:lnTo>
                    <a:lnTo>
                      <a:pt x="1101" y="2284"/>
                    </a:lnTo>
                    <a:lnTo>
                      <a:pt x="1031" y="2280"/>
                    </a:lnTo>
                    <a:lnTo>
                      <a:pt x="963" y="2272"/>
                    </a:lnTo>
                    <a:lnTo>
                      <a:pt x="898" y="2263"/>
                    </a:lnTo>
                    <a:lnTo>
                      <a:pt x="835" y="2250"/>
                    </a:lnTo>
                    <a:lnTo>
                      <a:pt x="774" y="2236"/>
                    </a:lnTo>
                    <a:lnTo>
                      <a:pt x="716" y="2219"/>
                    </a:lnTo>
                    <a:lnTo>
                      <a:pt x="659" y="2199"/>
                    </a:lnTo>
                    <a:lnTo>
                      <a:pt x="606" y="2176"/>
                    </a:lnTo>
                    <a:lnTo>
                      <a:pt x="554" y="2151"/>
                    </a:lnTo>
                    <a:lnTo>
                      <a:pt x="505" y="2124"/>
                    </a:lnTo>
                    <a:lnTo>
                      <a:pt x="458" y="2094"/>
                    </a:lnTo>
                    <a:lnTo>
                      <a:pt x="413" y="2062"/>
                    </a:lnTo>
                    <a:lnTo>
                      <a:pt x="371" y="2027"/>
                    </a:lnTo>
                    <a:lnTo>
                      <a:pt x="331" y="1990"/>
                    </a:lnTo>
                    <a:lnTo>
                      <a:pt x="293" y="1952"/>
                    </a:lnTo>
                    <a:lnTo>
                      <a:pt x="258" y="1910"/>
                    </a:lnTo>
                    <a:lnTo>
                      <a:pt x="224" y="1867"/>
                    </a:lnTo>
                    <a:lnTo>
                      <a:pt x="194" y="1821"/>
                    </a:lnTo>
                    <a:lnTo>
                      <a:pt x="165" y="1772"/>
                    </a:lnTo>
                    <a:lnTo>
                      <a:pt x="139" y="1723"/>
                    </a:lnTo>
                    <a:lnTo>
                      <a:pt x="115" y="1671"/>
                    </a:lnTo>
                    <a:lnTo>
                      <a:pt x="93" y="1617"/>
                    </a:lnTo>
                    <a:lnTo>
                      <a:pt x="73" y="1561"/>
                    </a:lnTo>
                    <a:lnTo>
                      <a:pt x="56" y="1503"/>
                    </a:lnTo>
                    <a:lnTo>
                      <a:pt x="41" y="1443"/>
                    </a:lnTo>
                    <a:lnTo>
                      <a:pt x="29" y="1382"/>
                    </a:lnTo>
                    <a:lnTo>
                      <a:pt x="18" y="1319"/>
                    </a:lnTo>
                    <a:lnTo>
                      <a:pt x="11" y="1253"/>
                    </a:lnTo>
                    <a:lnTo>
                      <a:pt x="4" y="1186"/>
                    </a:lnTo>
                    <a:lnTo>
                      <a:pt x="1" y="1117"/>
                    </a:lnTo>
                    <a:lnTo>
                      <a:pt x="0" y="1046"/>
                    </a:lnTo>
                    <a:lnTo>
                      <a:pt x="1" y="987"/>
                    </a:lnTo>
                    <a:lnTo>
                      <a:pt x="4" y="931"/>
                    </a:lnTo>
                    <a:lnTo>
                      <a:pt x="9" y="874"/>
                    </a:lnTo>
                    <a:lnTo>
                      <a:pt x="16" y="820"/>
                    </a:lnTo>
                    <a:lnTo>
                      <a:pt x="25" y="766"/>
                    </a:lnTo>
                    <a:lnTo>
                      <a:pt x="36" y="715"/>
                    </a:lnTo>
                    <a:lnTo>
                      <a:pt x="48" y="665"/>
                    </a:lnTo>
                    <a:lnTo>
                      <a:pt x="64" y="616"/>
                    </a:lnTo>
                    <a:lnTo>
                      <a:pt x="81" y="569"/>
                    </a:lnTo>
                    <a:lnTo>
                      <a:pt x="100" y="523"/>
                    </a:lnTo>
                    <a:lnTo>
                      <a:pt x="121" y="479"/>
                    </a:lnTo>
                    <a:lnTo>
                      <a:pt x="144" y="437"/>
                    </a:lnTo>
                    <a:lnTo>
                      <a:pt x="168" y="396"/>
                    </a:lnTo>
                    <a:lnTo>
                      <a:pt x="196" y="359"/>
                    </a:lnTo>
                    <a:lnTo>
                      <a:pt x="224" y="321"/>
                    </a:lnTo>
                    <a:lnTo>
                      <a:pt x="255" y="286"/>
                    </a:lnTo>
                    <a:lnTo>
                      <a:pt x="287" y="253"/>
                    </a:lnTo>
                    <a:lnTo>
                      <a:pt x="322" y="221"/>
                    </a:lnTo>
                    <a:lnTo>
                      <a:pt x="358" y="192"/>
                    </a:lnTo>
                    <a:lnTo>
                      <a:pt x="396" y="165"/>
                    </a:lnTo>
                    <a:lnTo>
                      <a:pt x="436" y="140"/>
                    </a:lnTo>
                    <a:lnTo>
                      <a:pt x="478" y="115"/>
                    </a:lnTo>
                    <a:lnTo>
                      <a:pt x="523" y="95"/>
                    </a:lnTo>
                    <a:lnTo>
                      <a:pt x="569" y="75"/>
                    </a:lnTo>
                    <a:lnTo>
                      <a:pt x="616" y="58"/>
                    </a:lnTo>
                    <a:lnTo>
                      <a:pt x="666" y="43"/>
                    </a:lnTo>
                    <a:lnTo>
                      <a:pt x="717" y="31"/>
                    </a:lnTo>
                    <a:lnTo>
                      <a:pt x="771" y="19"/>
                    </a:lnTo>
                    <a:lnTo>
                      <a:pt x="826" y="12"/>
                    </a:lnTo>
                    <a:lnTo>
                      <a:pt x="883" y="5"/>
                    </a:lnTo>
                    <a:lnTo>
                      <a:pt x="942" y="1"/>
                    </a:lnTo>
                    <a:lnTo>
                      <a:pt x="1003" y="0"/>
                    </a:lnTo>
                    <a:lnTo>
                      <a:pt x="1052" y="1"/>
                    </a:lnTo>
                    <a:lnTo>
                      <a:pt x="1100" y="3"/>
                    </a:lnTo>
                    <a:lnTo>
                      <a:pt x="1147" y="8"/>
                    </a:lnTo>
                    <a:lnTo>
                      <a:pt x="1192" y="13"/>
                    </a:lnTo>
                    <a:lnTo>
                      <a:pt x="1235" y="20"/>
                    </a:lnTo>
                    <a:lnTo>
                      <a:pt x="1277" y="28"/>
                    </a:lnTo>
                    <a:lnTo>
                      <a:pt x="1318" y="38"/>
                    </a:lnTo>
                    <a:lnTo>
                      <a:pt x="1358" y="49"/>
                    </a:lnTo>
                    <a:lnTo>
                      <a:pt x="1396" y="63"/>
                    </a:lnTo>
                    <a:lnTo>
                      <a:pt x="1432" y="78"/>
                    </a:lnTo>
                    <a:lnTo>
                      <a:pt x="1468" y="93"/>
                    </a:lnTo>
                    <a:lnTo>
                      <a:pt x="1501" y="111"/>
                    </a:lnTo>
                    <a:lnTo>
                      <a:pt x="1533" y="131"/>
                    </a:lnTo>
                    <a:lnTo>
                      <a:pt x="1563" y="152"/>
                    </a:lnTo>
                    <a:lnTo>
                      <a:pt x="1592" y="174"/>
                    </a:lnTo>
                    <a:lnTo>
                      <a:pt x="1619" y="198"/>
                    </a:lnTo>
                    <a:lnTo>
                      <a:pt x="1645" y="224"/>
                    </a:lnTo>
                    <a:lnTo>
                      <a:pt x="1669" y="252"/>
                    </a:lnTo>
                    <a:lnTo>
                      <a:pt x="1691" y="280"/>
                    </a:lnTo>
                    <a:lnTo>
                      <a:pt x="1713" y="310"/>
                    </a:lnTo>
                    <a:lnTo>
                      <a:pt x="1732" y="342"/>
                    </a:lnTo>
                    <a:lnTo>
                      <a:pt x="1749" y="375"/>
                    </a:lnTo>
                    <a:lnTo>
                      <a:pt x="1766" y="411"/>
                    </a:lnTo>
                    <a:lnTo>
                      <a:pt x="1781" y="448"/>
                    </a:lnTo>
                    <a:lnTo>
                      <a:pt x="1793" y="485"/>
                    </a:lnTo>
                    <a:lnTo>
                      <a:pt x="1804" y="526"/>
                    </a:lnTo>
                    <a:lnTo>
                      <a:pt x="1813" y="567"/>
                    </a:lnTo>
                    <a:lnTo>
                      <a:pt x="1822" y="610"/>
                    </a:lnTo>
                    <a:lnTo>
                      <a:pt x="1827" y="655"/>
                    </a:lnTo>
                    <a:lnTo>
                      <a:pt x="1832" y="701"/>
                    </a:lnTo>
                    <a:lnTo>
                      <a:pt x="1834" y="750"/>
                    </a:lnTo>
                    <a:lnTo>
                      <a:pt x="1836" y="799"/>
                    </a:lnTo>
                    <a:lnTo>
                      <a:pt x="1293" y="799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8" name="Freeform 7"/>
              <p:cNvSpPr>
                <a:spLocks/>
              </p:cNvSpPr>
              <p:nvPr userDrawn="1"/>
            </p:nvSpPr>
            <p:spPr bwMode="auto">
              <a:xfrm>
                <a:off x="1493838" y="2555875"/>
                <a:ext cx="265112" cy="330200"/>
              </a:xfrm>
              <a:custGeom>
                <a:avLst/>
                <a:gdLst/>
                <a:ahLst/>
                <a:cxnLst>
                  <a:cxn ang="0">
                    <a:pos x="1286" y="695"/>
                  </a:cxn>
                  <a:cxn ang="0">
                    <a:pos x="1274" y="616"/>
                  </a:cxn>
                  <a:cxn ang="0">
                    <a:pos x="1251" y="543"/>
                  </a:cxn>
                  <a:cxn ang="0">
                    <a:pos x="1217" y="479"/>
                  </a:cxn>
                  <a:cxn ang="0">
                    <a:pos x="1170" y="427"/>
                  </a:cxn>
                  <a:cxn ang="0">
                    <a:pos x="1109" y="387"/>
                  </a:cxn>
                  <a:cxn ang="0">
                    <a:pos x="1031" y="364"/>
                  </a:cxn>
                  <a:cxn ang="0">
                    <a:pos x="931" y="360"/>
                  </a:cxn>
                  <a:cxn ang="0">
                    <a:pos x="826" y="382"/>
                  </a:cxn>
                  <a:cxn ang="0">
                    <a:pos x="740" y="429"/>
                  </a:cxn>
                  <a:cxn ang="0">
                    <a:pos x="671" y="497"/>
                  </a:cxn>
                  <a:cxn ang="0">
                    <a:pos x="619" y="581"/>
                  </a:cxn>
                  <a:cxn ang="0">
                    <a:pos x="582" y="676"/>
                  </a:cxn>
                  <a:cxn ang="0">
                    <a:pos x="558" y="777"/>
                  </a:cxn>
                  <a:cxn ang="0">
                    <a:pos x="545" y="880"/>
                  </a:cxn>
                  <a:cxn ang="0">
                    <a:pos x="543" y="1006"/>
                  </a:cxn>
                  <a:cxn ang="0">
                    <a:pos x="565" y="1202"/>
                  </a:cxn>
                  <a:cxn ang="0">
                    <a:pos x="617" y="1383"/>
                  </a:cxn>
                  <a:cxn ang="0">
                    <a:pos x="698" y="1543"/>
                  </a:cxn>
                  <a:cxn ang="0">
                    <a:pos x="805" y="1679"/>
                  </a:cxn>
                  <a:cxn ang="0">
                    <a:pos x="940" y="1789"/>
                  </a:cxn>
                  <a:cxn ang="0">
                    <a:pos x="1101" y="1870"/>
                  </a:cxn>
                  <a:cxn ang="0">
                    <a:pos x="1287" y="1916"/>
                  </a:cxn>
                  <a:cxn ang="0">
                    <a:pos x="1490" y="1927"/>
                  </a:cxn>
                  <a:cxn ang="0">
                    <a:pos x="1652" y="1912"/>
                  </a:cxn>
                  <a:cxn ang="0">
                    <a:pos x="1744" y="1893"/>
                  </a:cxn>
                  <a:cxn ang="0">
                    <a:pos x="1812" y="2184"/>
                  </a:cxn>
                  <a:cxn ang="0">
                    <a:pos x="1655" y="2227"/>
                  </a:cxn>
                  <a:cxn ang="0">
                    <a:pos x="1495" y="2259"/>
                  </a:cxn>
                  <a:cxn ang="0">
                    <a:pos x="1335" y="2279"/>
                  </a:cxn>
                  <a:cxn ang="0">
                    <a:pos x="1173" y="2285"/>
                  </a:cxn>
                  <a:cxn ang="0">
                    <a:pos x="897" y="2263"/>
                  </a:cxn>
                  <a:cxn ang="0">
                    <a:pos x="659" y="2199"/>
                  </a:cxn>
                  <a:cxn ang="0">
                    <a:pos x="458" y="2094"/>
                  </a:cxn>
                  <a:cxn ang="0">
                    <a:pos x="293" y="1952"/>
                  </a:cxn>
                  <a:cxn ang="0">
                    <a:pos x="165" y="1772"/>
                  </a:cxn>
                  <a:cxn ang="0">
                    <a:pos x="72" y="1561"/>
                  </a:cxn>
                  <a:cxn ang="0">
                    <a:pos x="18" y="1319"/>
                  </a:cxn>
                  <a:cxn ang="0">
                    <a:pos x="0" y="1046"/>
                  </a:cxn>
                  <a:cxn ang="0">
                    <a:pos x="15" y="820"/>
                  </a:cxn>
                  <a:cxn ang="0">
                    <a:pos x="64" y="616"/>
                  </a:cxn>
                  <a:cxn ang="0">
                    <a:pos x="143" y="437"/>
                  </a:cxn>
                  <a:cxn ang="0">
                    <a:pos x="254" y="286"/>
                  </a:cxn>
                  <a:cxn ang="0">
                    <a:pos x="396" y="165"/>
                  </a:cxn>
                  <a:cxn ang="0">
                    <a:pos x="568" y="75"/>
                  </a:cxn>
                  <a:cxn ang="0">
                    <a:pos x="770" y="19"/>
                  </a:cxn>
                  <a:cxn ang="0">
                    <a:pos x="1002" y="0"/>
                  </a:cxn>
                  <a:cxn ang="0">
                    <a:pos x="1191" y="13"/>
                  </a:cxn>
                  <a:cxn ang="0">
                    <a:pos x="1358" y="49"/>
                  </a:cxn>
                  <a:cxn ang="0">
                    <a:pos x="1500" y="111"/>
                  </a:cxn>
                  <a:cxn ang="0">
                    <a:pos x="1618" y="198"/>
                  </a:cxn>
                  <a:cxn ang="0">
                    <a:pos x="1712" y="310"/>
                  </a:cxn>
                  <a:cxn ang="0">
                    <a:pos x="1779" y="448"/>
                  </a:cxn>
                  <a:cxn ang="0">
                    <a:pos x="1821" y="610"/>
                  </a:cxn>
                  <a:cxn ang="0">
                    <a:pos x="1835" y="799"/>
                  </a:cxn>
                </a:cxnLst>
                <a:rect l="0" t="0" r="r" b="b"/>
                <a:pathLst>
                  <a:path w="1835" h="2285">
                    <a:moveTo>
                      <a:pt x="1292" y="799"/>
                    </a:moveTo>
                    <a:lnTo>
                      <a:pt x="1292" y="757"/>
                    </a:lnTo>
                    <a:lnTo>
                      <a:pt x="1288" y="715"/>
                    </a:lnTo>
                    <a:lnTo>
                      <a:pt x="1286" y="695"/>
                    </a:lnTo>
                    <a:lnTo>
                      <a:pt x="1284" y="675"/>
                    </a:lnTo>
                    <a:lnTo>
                      <a:pt x="1281" y="655"/>
                    </a:lnTo>
                    <a:lnTo>
                      <a:pt x="1278" y="635"/>
                    </a:lnTo>
                    <a:lnTo>
                      <a:pt x="1274" y="616"/>
                    </a:lnTo>
                    <a:lnTo>
                      <a:pt x="1268" y="598"/>
                    </a:lnTo>
                    <a:lnTo>
                      <a:pt x="1263" y="579"/>
                    </a:lnTo>
                    <a:lnTo>
                      <a:pt x="1258" y="561"/>
                    </a:lnTo>
                    <a:lnTo>
                      <a:pt x="1251" y="543"/>
                    </a:lnTo>
                    <a:lnTo>
                      <a:pt x="1243" y="526"/>
                    </a:lnTo>
                    <a:lnTo>
                      <a:pt x="1235" y="511"/>
                    </a:lnTo>
                    <a:lnTo>
                      <a:pt x="1226" y="494"/>
                    </a:lnTo>
                    <a:lnTo>
                      <a:pt x="1217" y="479"/>
                    </a:lnTo>
                    <a:lnTo>
                      <a:pt x="1206" y="464"/>
                    </a:lnTo>
                    <a:lnTo>
                      <a:pt x="1195" y="452"/>
                    </a:lnTo>
                    <a:lnTo>
                      <a:pt x="1183" y="438"/>
                    </a:lnTo>
                    <a:lnTo>
                      <a:pt x="1170" y="427"/>
                    </a:lnTo>
                    <a:lnTo>
                      <a:pt x="1156" y="415"/>
                    </a:lnTo>
                    <a:lnTo>
                      <a:pt x="1141" y="405"/>
                    </a:lnTo>
                    <a:lnTo>
                      <a:pt x="1125" y="395"/>
                    </a:lnTo>
                    <a:lnTo>
                      <a:pt x="1109" y="387"/>
                    </a:lnTo>
                    <a:lnTo>
                      <a:pt x="1091" y="380"/>
                    </a:lnTo>
                    <a:lnTo>
                      <a:pt x="1072" y="373"/>
                    </a:lnTo>
                    <a:lnTo>
                      <a:pt x="1052" y="368"/>
                    </a:lnTo>
                    <a:lnTo>
                      <a:pt x="1031" y="364"/>
                    </a:lnTo>
                    <a:lnTo>
                      <a:pt x="1009" y="361"/>
                    </a:lnTo>
                    <a:lnTo>
                      <a:pt x="985" y="359"/>
                    </a:lnTo>
                    <a:lnTo>
                      <a:pt x="960" y="359"/>
                    </a:lnTo>
                    <a:lnTo>
                      <a:pt x="931" y="360"/>
                    </a:lnTo>
                    <a:lnTo>
                      <a:pt x="903" y="362"/>
                    </a:lnTo>
                    <a:lnTo>
                      <a:pt x="876" y="367"/>
                    </a:lnTo>
                    <a:lnTo>
                      <a:pt x="850" y="373"/>
                    </a:lnTo>
                    <a:lnTo>
                      <a:pt x="826" y="382"/>
                    </a:lnTo>
                    <a:lnTo>
                      <a:pt x="803" y="391"/>
                    </a:lnTo>
                    <a:lnTo>
                      <a:pt x="781" y="403"/>
                    </a:lnTo>
                    <a:lnTo>
                      <a:pt x="760" y="415"/>
                    </a:lnTo>
                    <a:lnTo>
                      <a:pt x="740" y="429"/>
                    </a:lnTo>
                    <a:lnTo>
                      <a:pt x="721" y="445"/>
                    </a:lnTo>
                    <a:lnTo>
                      <a:pt x="703" y="460"/>
                    </a:lnTo>
                    <a:lnTo>
                      <a:pt x="687" y="478"/>
                    </a:lnTo>
                    <a:lnTo>
                      <a:pt x="671" y="497"/>
                    </a:lnTo>
                    <a:lnTo>
                      <a:pt x="657" y="517"/>
                    </a:lnTo>
                    <a:lnTo>
                      <a:pt x="643" y="537"/>
                    </a:lnTo>
                    <a:lnTo>
                      <a:pt x="630" y="559"/>
                    </a:lnTo>
                    <a:lnTo>
                      <a:pt x="619" y="581"/>
                    </a:lnTo>
                    <a:lnTo>
                      <a:pt x="608" y="604"/>
                    </a:lnTo>
                    <a:lnTo>
                      <a:pt x="599" y="627"/>
                    </a:lnTo>
                    <a:lnTo>
                      <a:pt x="589" y="651"/>
                    </a:lnTo>
                    <a:lnTo>
                      <a:pt x="582" y="676"/>
                    </a:lnTo>
                    <a:lnTo>
                      <a:pt x="575" y="700"/>
                    </a:lnTo>
                    <a:lnTo>
                      <a:pt x="568" y="725"/>
                    </a:lnTo>
                    <a:lnTo>
                      <a:pt x="562" y="752"/>
                    </a:lnTo>
                    <a:lnTo>
                      <a:pt x="558" y="777"/>
                    </a:lnTo>
                    <a:lnTo>
                      <a:pt x="554" y="803"/>
                    </a:lnTo>
                    <a:lnTo>
                      <a:pt x="549" y="828"/>
                    </a:lnTo>
                    <a:lnTo>
                      <a:pt x="547" y="854"/>
                    </a:lnTo>
                    <a:lnTo>
                      <a:pt x="545" y="880"/>
                    </a:lnTo>
                    <a:lnTo>
                      <a:pt x="543" y="905"/>
                    </a:lnTo>
                    <a:lnTo>
                      <a:pt x="542" y="930"/>
                    </a:lnTo>
                    <a:lnTo>
                      <a:pt x="542" y="955"/>
                    </a:lnTo>
                    <a:lnTo>
                      <a:pt x="543" y="1006"/>
                    </a:lnTo>
                    <a:lnTo>
                      <a:pt x="546" y="1057"/>
                    </a:lnTo>
                    <a:lnTo>
                      <a:pt x="550" y="1106"/>
                    </a:lnTo>
                    <a:lnTo>
                      <a:pt x="557" y="1155"/>
                    </a:lnTo>
                    <a:lnTo>
                      <a:pt x="565" y="1202"/>
                    </a:lnTo>
                    <a:lnTo>
                      <a:pt x="576" y="1250"/>
                    </a:lnTo>
                    <a:lnTo>
                      <a:pt x="587" y="1295"/>
                    </a:lnTo>
                    <a:lnTo>
                      <a:pt x="602" y="1339"/>
                    </a:lnTo>
                    <a:lnTo>
                      <a:pt x="617" y="1383"/>
                    </a:lnTo>
                    <a:lnTo>
                      <a:pt x="635" y="1425"/>
                    </a:lnTo>
                    <a:lnTo>
                      <a:pt x="653" y="1465"/>
                    </a:lnTo>
                    <a:lnTo>
                      <a:pt x="675" y="1504"/>
                    </a:lnTo>
                    <a:lnTo>
                      <a:pt x="698" y="1543"/>
                    </a:lnTo>
                    <a:lnTo>
                      <a:pt x="722" y="1579"/>
                    </a:lnTo>
                    <a:lnTo>
                      <a:pt x="748" y="1614"/>
                    </a:lnTo>
                    <a:lnTo>
                      <a:pt x="775" y="1648"/>
                    </a:lnTo>
                    <a:lnTo>
                      <a:pt x="805" y="1679"/>
                    </a:lnTo>
                    <a:lnTo>
                      <a:pt x="836" y="1710"/>
                    </a:lnTo>
                    <a:lnTo>
                      <a:pt x="869" y="1738"/>
                    </a:lnTo>
                    <a:lnTo>
                      <a:pt x="904" y="1765"/>
                    </a:lnTo>
                    <a:lnTo>
                      <a:pt x="940" y="1789"/>
                    </a:lnTo>
                    <a:lnTo>
                      <a:pt x="978" y="1812"/>
                    </a:lnTo>
                    <a:lnTo>
                      <a:pt x="1017" y="1833"/>
                    </a:lnTo>
                    <a:lnTo>
                      <a:pt x="1058" y="1853"/>
                    </a:lnTo>
                    <a:lnTo>
                      <a:pt x="1101" y="1870"/>
                    </a:lnTo>
                    <a:lnTo>
                      <a:pt x="1145" y="1885"/>
                    </a:lnTo>
                    <a:lnTo>
                      <a:pt x="1192" y="1897"/>
                    </a:lnTo>
                    <a:lnTo>
                      <a:pt x="1239" y="1908"/>
                    </a:lnTo>
                    <a:lnTo>
                      <a:pt x="1287" y="1916"/>
                    </a:lnTo>
                    <a:lnTo>
                      <a:pt x="1338" y="1922"/>
                    </a:lnTo>
                    <a:lnTo>
                      <a:pt x="1390" y="1926"/>
                    </a:lnTo>
                    <a:lnTo>
                      <a:pt x="1444" y="1928"/>
                    </a:lnTo>
                    <a:lnTo>
                      <a:pt x="1490" y="1927"/>
                    </a:lnTo>
                    <a:lnTo>
                      <a:pt x="1536" y="1924"/>
                    </a:lnTo>
                    <a:lnTo>
                      <a:pt x="1584" y="1920"/>
                    </a:lnTo>
                    <a:lnTo>
                      <a:pt x="1630" y="1915"/>
                    </a:lnTo>
                    <a:lnTo>
                      <a:pt x="1652" y="1912"/>
                    </a:lnTo>
                    <a:lnTo>
                      <a:pt x="1675" y="1908"/>
                    </a:lnTo>
                    <a:lnTo>
                      <a:pt x="1698" y="1904"/>
                    </a:lnTo>
                    <a:lnTo>
                      <a:pt x="1721" y="1898"/>
                    </a:lnTo>
                    <a:lnTo>
                      <a:pt x="1744" y="1893"/>
                    </a:lnTo>
                    <a:lnTo>
                      <a:pt x="1767" y="1887"/>
                    </a:lnTo>
                    <a:lnTo>
                      <a:pt x="1789" y="1879"/>
                    </a:lnTo>
                    <a:lnTo>
                      <a:pt x="1812" y="1872"/>
                    </a:lnTo>
                    <a:lnTo>
                      <a:pt x="1812" y="2184"/>
                    </a:lnTo>
                    <a:lnTo>
                      <a:pt x="1773" y="2196"/>
                    </a:lnTo>
                    <a:lnTo>
                      <a:pt x="1734" y="2207"/>
                    </a:lnTo>
                    <a:lnTo>
                      <a:pt x="1694" y="2217"/>
                    </a:lnTo>
                    <a:lnTo>
                      <a:pt x="1655" y="2227"/>
                    </a:lnTo>
                    <a:lnTo>
                      <a:pt x="1615" y="2236"/>
                    </a:lnTo>
                    <a:lnTo>
                      <a:pt x="1575" y="2244"/>
                    </a:lnTo>
                    <a:lnTo>
                      <a:pt x="1535" y="2251"/>
                    </a:lnTo>
                    <a:lnTo>
                      <a:pt x="1495" y="2259"/>
                    </a:lnTo>
                    <a:lnTo>
                      <a:pt x="1456" y="2265"/>
                    </a:lnTo>
                    <a:lnTo>
                      <a:pt x="1415" y="2270"/>
                    </a:lnTo>
                    <a:lnTo>
                      <a:pt x="1375" y="2275"/>
                    </a:lnTo>
                    <a:lnTo>
                      <a:pt x="1335" y="2279"/>
                    </a:lnTo>
                    <a:lnTo>
                      <a:pt x="1294" y="2281"/>
                    </a:lnTo>
                    <a:lnTo>
                      <a:pt x="1254" y="2283"/>
                    </a:lnTo>
                    <a:lnTo>
                      <a:pt x="1213" y="2285"/>
                    </a:lnTo>
                    <a:lnTo>
                      <a:pt x="1173" y="2285"/>
                    </a:lnTo>
                    <a:lnTo>
                      <a:pt x="1100" y="2284"/>
                    </a:lnTo>
                    <a:lnTo>
                      <a:pt x="1030" y="2280"/>
                    </a:lnTo>
                    <a:lnTo>
                      <a:pt x="963" y="2272"/>
                    </a:lnTo>
                    <a:lnTo>
                      <a:pt x="897" y="2263"/>
                    </a:lnTo>
                    <a:lnTo>
                      <a:pt x="834" y="2250"/>
                    </a:lnTo>
                    <a:lnTo>
                      <a:pt x="773" y="2236"/>
                    </a:lnTo>
                    <a:lnTo>
                      <a:pt x="716" y="2219"/>
                    </a:lnTo>
                    <a:lnTo>
                      <a:pt x="659" y="2199"/>
                    </a:lnTo>
                    <a:lnTo>
                      <a:pt x="605" y="2176"/>
                    </a:lnTo>
                    <a:lnTo>
                      <a:pt x="554" y="2151"/>
                    </a:lnTo>
                    <a:lnTo>
                      <a:pt x="504" y="2124"/>
                    </a:lnTo>
                    <a:lnTo>
                      <a:pt x="458" y="2094"/>
                    </a:lnTo>
                    <a:lnTo>
                      <a:pt x="413" y="2062"/>
                    </a:lnTo>
                    <a:lnTo>
                      <a:pt x="371" y="2027"/>
                    </a:lnTo>
                    <a:lnTo>
                      <a:pt x="331" y="1990"/>
                    </a:lnTo>
                    <a:lnTo>
                      <a:pt x="293" y="1952"/>
                    </a:lnTo>
                    <a:lnTo>
                      <a:pt x="257" y="1910"/>
                    </a:lnTo>
                    <a:lnTo>
                      <a:pt x="224" y="1867"/>
                    </a:lnTo>
                    <a:lnTo>
                      <a:pt x="193" y="1821"/>
                    </a:lnTo>
                    <a:lnTo>
                      <a:pt x="165" y="1772"/>
                    </a:lnTo>
                    <a:lnTo>
                      <a:pt x="137" y="1723"/>
                    </a:lnTo>
                    <a:lnTo>
                      <a:pt x="114" y="1671"/>
                    </a:lnTo>
                    <a:lnTo>
                      <a:pt x="92" y="1617"/>
                    </a:lnTo>
                    <a:lnTo>
                      <a:pt x="72" y="1561"/>
                    </a:lnTo>
                    <a:lnTo>
                      <a:pt x="55" y="1503"/>
                    </a:lnTo>
                    <a:lnTo>
                      <a:pt x="41" y="1443"/>
                    </a:lnTo>
                    <a:lnTo>
                      <a:pt x="28" y="1382"/>
                    </a:lnTo>
                    <a:lnTo>
                      <a:pt x="18" y="1319"/>
                    </a:lnTo>
                    <a:lnTo>
                      <a:pt x="9" y="1253"/>
                    </a:lnTo>
                    <a:lnTo>
                      <a:pt x="4" y="1186"/>
                    </a:lnTo>
                    <a:lnTo>
                      <a:pt x="1" y="1117"/>
                    </a:lnTo>
                    <a:lnTo>
                      <a:pt x="0" y="1046"/>
                    </a:lnTo>
                    <a:lnTo>
                      <a:pt x="1" y="987"/>
                    </a:lnTo>
                    <a:lnTo>
                      <a:pt x="3" y="931"/>
                    </a:lnTo>
                    <a:lnTo>
                      <a:pt x="8" y="874"/>
                    </a:lnTo>
                    <a:lnTo>
                      <a:pt x="15" y="820"/>
                    </a:lnTo>
                    <a:lnTo>
                      <a:pt x="25" y="766"/>
                    </a:lnTo>
                    <a:lnTo>
                      <a:pt x="35" y="715"/>
                    </a:lnTo>
                    <a:lnTo>
                      <a:pt x="48" y="665"/>
                    </a:lnTo>
                    <a:lnTo>
                      <a:pt x="64" y="616"/>
                    </a:lnTo>
                    <a:lnTo>
                      <a:pt x="81" y="569"/>
                    </a:lnTo>
                    <a:lnTo>
                      <a:pt x="100" y="523"/>
                    </a:lnTo>
                    <a:lnTo>
                      <a:pt x="121" y="479"/>
                    </a:lnTo>
                    <a:lnTo>
                      <a:pt x="143" y="437"/>
                    </a:lnTo>
                    <a:lnTo>
                      <a:pt x="168" y="396"/>
                    </a:lnTo>
                    <a:lnTo>
                      <a:pt x="194" y="359"/>
                    </a:lnTo>
                    <a:lnTo>
                      <a:pt x="224" y="321"/>
                    </a:lnTo>
                    <a:lnTo>
                      <a:pt x="254" y="286"/>
                    </a:lnTo>
                    <a:lnTo>
                      <a:pt x="287" y="253"/>
                    </a:lnTo>
                    <a:lnTo>
                      <a:pt x="321" y="221"/>
                    </a:lnTo>
                    <a:lnTo>
                      <a:pt x="357" y="192"/>
                    </a:lnTo>
                    <a:lnTo>
                      <a:pt x="396" y="165"/>
                    </a:lnTo>
                    <a:lnTo>
                      <a:pt x="436" y="140"/>
                    </a:lnTo>
                    <a:lnTo>
                      <a:pt x="478" y="115"/>
                    </a:lnTo>
                    <a:lnTo>
                      <a:pt x="522" y="95"/>
                    </a:lnTo>
                    <a:lnTo>
                      <a:pt x="568" y="75"/>
                    </a:lnTo>
                    <a:lnTo>
                      <a:pt x="616" y="58"/>
                    </a:lnTo>
                    <a:lnTo>
                      <a:pt x="665" y="43"/>
                    </a:lnTo>
                    <a:lnTo>
                      <a:pt x="717" y="31"/>
                    </a:lnTo>
                    <a:lnTo>
                      <a:pt x="770" y="19"/>
                    </a:lnTo>
                    <a:lnTo>
                      <a:pt x="825" y="12"/>
                    </a:lnTo>
                    <a:lnTo>
                      <a:pt x="883" y="5"/>
                    </a:lnTo>
                    <a:lnTo>
                      <a:pt x="942" y="1"/>
                    </a:lnTo>
                    <a:lnTo>
                      <a:pt x="1002" y="0"/>
                    </a:lnTo>
                    <a:lnTo>
                      <a:pt x="1052" y="1"/>
                    </a:lnTo>
                    <a:lnTo>
                      <a:pt x="1099" y="3"/>
                    </a:lnTo>
                    <a:lnTo>
                      <a:pt x="1145" y="8"/>
                    </a:lnTo>
                    <a:lnTo>
                      <a:pt x="1191" y="13"/>
                    </a:lnTo>
                    <a:lnTo>
                      <a:pt x="1235" y="20"/>
                    </a:lnTo>
                    <a:lnTo>
                      <a:pt x="1277" y="28"/>
                    </a:lnTo>
                    <a:lnTo>
                      <a:pt x="1318" y="38"/>
                    </a:lnTo>
                    <a:lnTo>
                      <a:pt x="1358" y="49"/>
                    </a:lnTo>
                    <a:lnTo>
                      <a:pt x="1396" y="63"/>
                    </a:lnTo>
                    <a:lnTo>
                      <a:pt x="1431" y="78"/>
                    </a:lnTo>
                    <a:lnTo>
                      <a:pt x="1466" y="93"/>
                    </a:lnTo>
                    <a:lnTo>
                      <a:pt x="1500" y="111"/>
                    </a:lnTo>
                    <a:lnTo>
                      <a:pt x="1532" y="131"/>
                    </a:lnTo>
                    <a:lnTo>
                      <a:pt x="1563" y="152"/>
                    </a:lnTo>
                    <a:lnTo>
                      <a:pt x="1591" y="174"/>
                    </a:lnTo>
                    <a:lnTo>
                      <a:pt x="1618" y="198"/>
                    </a:lnTo>
                    <a:lnTo>
                      <a:pt x="1644" y="224"/>
                    </a:lnTo>
                    <a:lnTo>
                      <a:pt x="1668" y="252"/>
                    </a:lnTo>
                    <a:lnTo>
                      <a:pt x="1691" y="280"/>
                    </a:lnTo>
                    <a:lnTo>
                      <a:pt x="1712" y="310"/>
                    </a:lnTo>
                    <a:lnTo>
                      <a:pt x="1731" y="342"/>
                    </a:lnTo>
                    <a:lnTo>
                      <a:pt x="1749" y="375"/>
                    </a:lnTo>
                    <a:lnTo>
                      <a:pt x="1766" y="411"/>
                    </a:lnTo>
                    <a:lnTo>
                      <a:pt x="1779" y="448"/>
                    </a:lnTo>
                    <a:lnTo>
                      <a:pt x="1793" y="485"/>
                    </a:lnTo>
                    <a:lnTo>
                      <a:pt x="1803" y="526"/>
                    </a:lnTo>
                    <a:lnTo>
                      <a:pt x="1813" y="567"/>
                    </a:lnTo>
                    <a:lnTo>
                      <a:pt x="1821" y="610"/>
                    </a:lnTo>
                    <a:lnTo>
                      <a:pt x="1827" y="655"/>
                    </a:lnTo>
                    <a:lnTo>
                      <a:pt x="1831" y="701"/>
                    </a:lnTo>
                    <a:lnTo>
                      <a:pt x="1834" y="750"/>
                    </a:lnTo>
                    <a:lnTo>
                      <a:pt x="1835" y="799"/>
                    </a:lnTo>
                    <a:lnTo>
                      <a:pt x="1292" y="799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9" name="Freeform 8"/>
              <p:cNvSpPr>
                <a:spLocks noEditPoints="1"/>
              </p:cNvSpPr>
              <p:nvPr userDrawn="1"/>
            </p:nvSpPr>
            <p:spPr bwMode="auto">
              <a:xfrm>
                <a:off x="1782763" y="2555875"/>
                <a:ext cx="255587" cy="330200"/>
              </a:xfrm>
              <a:custGeom>
                <a:avLst/>
                <a:gdLst/>
                <a:ahLst/>
                <a:cxnLst>
                  <a:cxn ang="0">
                    <a:pos x="1767" y="788"/>
                  </a:cxn>
                  <a:cxn ang="0">
                    <a:pos x="1742" y="607"/>
                  </a:cxn>
                  <a:cxn ang="0">
                    <a:pos x="1690" y="445"/>
                  </a:cxn>
                  <a:cxn ang="0">
                    <a:pos x="1612" y="305"/>
                  </a:cxn>
                  <a:cxn ang="0">
                    <a:pos x="1508" y="189"/>
                  </a:cxn>
                  <a:cxn ang="0">
                    <a:pos x="1378" y="99"/>
                  </a:cxn>
                  <a:cxn ang="0">
                    <a:pos x="1222" y="37"/>
                  </a:cxn>
                  <a:cxn ang="0">
                    <a:pos x="1040" y="4"/>
                  </a:cxn>
                  <a:cxn ang="0">
                    <a:pos x="820" y="5"/>
                  </a:cxn>
                  <a:cxn ang="0">
                    <a:pos x="609" y="42"/>
                  </a:cxn>
                  <a:cxn ang="0">
                    <a:pos x="431" y="114"/>
                  </a:cxn>
                  <a:cxn ang="0">
                    <a:pos x="285" y="218"/>
                  </a:cxn>
                  <a:cxn ang="0">
                    <a:pos x="171" y="353"/>
                  </a:cxn>
                  <a:cxn ang="0">
                    <a:pos x="87" y="516"/>
                  </a:cxn>
                  <a:cxn ang="0">
                    <a:pos x="31" y="703"/>
                  </a:cxn>
                  <a:cxn ang="0">
                    <a:pos x="3" y="914"/>
                  </a:cxn>
                  <a:cxn ang="0">
                    <a:pos x="3" y="1161"/>
                  </a:cxn>
                  <a:cxn ang="0">
                    <a:pos x="35" y="1412"/>
                  </a:cxn>
                  <a:cxn ang="0">
                    <a:pos x="99" y="1639"/>
                  </a:cxn>
                  <a:cxn ang="0">
                    <a:pos x="198" y="1839"/>
                  </a:cxn>
                  <a:cxn ang="0">
                    <a:pos x="332" y="2006"/>
                  </a:cxn>
                  <a:cxn ang="0">
                    <a:pos x="504" y="2138"/>
                  </a:cxn>
                  <a:cxn ang="0">
                    <a:pos x="713" y="2231"/>
                  </a:cxn>
                  <a:cxn ang="0">
                    <a:pos x="963" y="2279"/>
                  </a:cxn>
                  <a:cxn ang="0">
                    <a:pos x="1182" y="2284"/>
                  </a:cxn>
                  <a:cxn ang="0">
                    <a:pos x="1336" y="2275"/>
                  </a:cxn>
                  <a:cxn ang="0">
                    <a:pos x="1490" y="2254"/>
                  </a:cxn>
                  <a:cxn ang="0">
                    <a:pos x="1641" y="2220"/>
                  </a:cxn>
                  <a:cxn ang="0">
                    <a:pos x="1666" y="1862"/>
                  </a:cxn>
                  <a:cxn ang="0">
                    <a:pos x="1484" y="1909"/>
                  </a:cxn>
                  <a:cxn ang="0">
                    <a:pos x="1376" y="1923"/>
                  </a:cxn>
                  <a:cxn ang="0">
                    <a:pos x="1251" y="1926"/>
                  </a:cxn>
                  <a:cxn ang="0">
                    <a:pos x="1078" y="1896"/>
                  </a:cxn>
                  <a:cxn ang="0">
                    <a:pos x="922" y="1829"/>
                  </a:cxn>
                  <a:cxn ang="0">
                    <a:pos x="787" y="1733"/>
                  </a:cxn>
                  <a:cxn ang="0">
                    <a:pos x="673" y="1609"/>
                  </a:cxn>
                  <a:cxn ang="0">
                    <a:pos x="584" y="1466"/>
                  </a:cxn>
                  <a:cxn ang="0">
                    <a:pos x="520" y="1308"/>
                  </a:cxn>
                  <a:cxn ang="0">
                    <a:pos x="483" y="1139"/>
                  </a:cxn>
                  <a:cxn ang="0">
                    <a:pos x="1771" y="1009"/>
                  </a:cxn>
                  <a:cxn ang="0">
                    <a:pos x="493" y="662"/>
                  </a:cxn>
                  <a:cxn ang="0">
                    <a:pos x="515" y="586"/>
                  </a:cxn>
                  <a:cxn ang="0">
                    <a:pos x="549" y="518"/>
                  </a:cxn>
                  <a:cxn ang="0">
                    <a:pos x="594" y="458"/>
                  </a:cxn>
                  <a:cxn ang="0">
                    <a:pos x="649" y="408"/>
                  </a:cxn>
                  <a:cxn ang="0">
                    <a:pos x="712" y="369"/>
                  </a:cxn>
                  <a:cxn ang="0">
                    <a:pos x="783" y="342"/>
                  </a:cxn>
                  <a:cxn ang="0">
                    <a:pos x="861" y="328"/>
                  </a:cxn>
                  <a:cxn ang="0">
                    <a:pos x="944" y="328"/>
                  </a:cxn>
                  <a:cxn ang="0">
                    <a:pos x="1024" y="341"/>
                  </a:cxn>
                  <a:cxn ang="0">
                    <a:pos x="1096" y="366"/>
                  </a:cxn>
                  <a:cxn ang="0">
                    <a:pos x="1157" y="404"/>
                  </a:cxn>
                  <a:cxn ang="0">
                    <a:pos x="1207" y="452"/>
                  </a:cxn>
                  <a:cxn ang="0">
                    <a:pos x="1246" y="512"/>
                  </a:cxn>
                  <a:cxn ang="0">
                    <a:pos x="1272" y="581"/>
                  </a:cxn>
                  <a:cxn ang="0">
                    <a:pos x="1286" y="659"/>
                  </a:cxn>
                </a:cxnLst>
                <a:rect l="0" t="0" r="r" b="b"/>
                <a:pathLst>
                  <a:path w="1771" h="2285">
                    <a:moveTo>
                      <a:pt x="1771" y="1009"/>
                    </a:moveTo>
                    <a:lnTo>
                      <a:pt x="1771" y="886"/>
                    </a:lnTo>
                    <a:lnTo>
                      <a:pt x="1771" y="837"/>
                    </a:lnTo>
                    <a:lnTo>
                      <a:pt x="1767" y="788"/>
                    </a:lnTo>
                    <a:lnTo>
                      <a:pt x="1764" y="741"/>
                    </a:lnTo>
                    <a:lnTo>
                      <a:pt x="1758" y="695"/>
                    </a:lnTo>
                    <a:lnTo>
                      <a:pt x="1751" y="650"/>
                    </a:lnTo>
                    <a:lnTo>
                      <a:pt x="1742" y="607"/>
                    </a:lnTo>
                    <a:lnTo>
                      <a:pt x="1732" y="564"/>
                    </a:lnTo>
                    <a:lnTo>
                      <a:pt x="1719" y="523"/>
                    </a:lnTo>
                    <a:lnTo>
                      <a:pt x="1705" y="483"/>
                    </a:lnTo>
                    <a:lnTo>
                      <a:pt x="1690" y="445"/>
                    </a:lnTo>
                    <a:lnTo>
                      <a:pt x="1673" y="408"/>
                    </a:lnTo>
                    <a:lnTo>
                      <a:pt x="1654" y="372"/>
                    </a:lnTo>
                    <a:lnTo>
                      <a:pt x="1634" y="338"/>
                    </a:lnTo>
                    <a:lnTo>
                      <a:pt x="1612" y="305"/>
                    </a:lnTo>
                    <a:lnTo>
                      <a:pt x="1589" y="274"/>
                    </a:lnTo>
                    <a:lnTo>
                      <a:pt x="1563" y="243"/>
                    </a:lnTo>
                    <a:lnTo>
                      <a:pt x="1537" y="215"/>
                    </a:lnTo>
                    <a:lnTo>
                      <a:pt x="1508" y="189"/>
                    </a:lnTo>
                    <a:lnTo>
                      <a:pt x="1478" y="164"/>
                    </a:lnTo>
                    <a:lnTo>
                      <a:pt x="1447" y="141"/>
                    </a:lnTo>
                    <a:lnTo>
                      <a:pt x="1413" y="119"/>
                    </a:lnTo>
                    <a:lnTo>
                      <a:pt x="1378" y="99"/>
                    </a:lnTo>
                    <a:lnTo>
                      <a:pt x="1342" y="81"/>
                    </a:lnTo>
                    <a:lnTo>
                      <a:pt x="1304" y="64"/>
                    </a:lnTo>
                    <a:lnTo>
                      <a:pt x="1264" y="49"/>
                    </a:lnTo>
                    <a:lnTo>
                      <a:pt x="1222" y="37"/>
                    </a:lnTo>
                    <a:lnTo>
                      <a:pt x="1179" y="25"/>
                    </a:lnTo>
                    <a:lnTo>
                      <a:pt x="1133" y="17"/>
                    </a:lnTo>
                    <a:lnTo>
                      <a:pt x="1087" y="10"/>
                    </a:lnTo>
                    <a:lnTo>
                      <a:pt x="1040" y="4"/>
                    </a:lnTo>
                    <a:lnTo>
                      <a:pt x="989" y="1"/>
                    </a:lnTo>
                    <a:lnTo>
                      <a:pt x="938" y="0"/>
                    </a:lnTo>
                    <a:lnTo>
                      <a:pt x="878" y="1"/>
                    </a:lnTo>
                    <a:lnTo>
                      <a:pt x="820" y="5"/>
                    </a:lnTo>
                    <a:lnTo>
                      <a:pt x="765" y="11"/>
                    </a:lnTo>
                    <a:lnTo>
                      <a:pt x="711" y="19"/>
                    </a:lnTo>
                    <a:lnTo>
                      <a:pt x="658" y="30"/>
                    </a:lnTo>
                    <a:lnTo>
                      <a:pt x="609" y="42"/>
                    </a:lnTo>
                    <a:lnTo>
                      <a:pt x="562" y="57"/>
                    </a:lnTo>
                    <a:lnTo>
                      <a:pt x="516" y="74"/>
                    </a:lnTo>
                    <a:lnTo>
                      <a:pt x="472" y="93"/>
                    </a:lnTo>
                    <a:lnTo>
                      <a:pt x="431" y="114"/>
                    </a:lnTo>
                    <a:lnTo>
                      <a:pt x="391" y="137"/>
                    </a:lnTo>
                    <a:lnTo>
                      <a:pt x="355" y="163"/>
                    </a:lnTo>
                    <a:lnTo>
                      <a:pt x="319" y="190"/>
                    </a:lnTo>
                    <a:lnTo>
                      <a:pt x="285" y="218"/>
                    </a:lnTo>
                    <a:lnTo>
                      <a:pt x="254" y="250"/>
                    </a:lnTo>
                    <a:lnTo>
                      <a:pt x="224" y="282"/>
                    </a:lnTo>
                    <a:lnTo>
                      <a:pt x="197" y="317"/>
                    </a:lnTo>
                    <a:lnTo>
                      <a:pt x="171" y="353"/>
                    </a:lnTo>
                    <a:lnTo>
                      <a:pt x="146" y="391"/>
                    </a:lnTo>
                    <a:lnTo>
                      <a:pt x="124" y="431"/>
                    </a:lnTo>
                    <a:lnTo>
                      <a:pt x="104" y="473"/>
                    </a:lnTo>
                    <a:lnTo>
                      <a:pt x="87" y="516"/>
                    </a:lnTo>
                    <a:lnTo>
                      <a:pt x="70" y="560"/>
                    </a:lnTo>
                    <a:lnTo>
                      <a:pt x="55" y="606"/>
                    </a:lnTo>
                    <a:lnTo>
                      <a:pt x="41" y="654"/>
                    </a:lnTo>
                    <a:lnTo>
                      <a:pt x="31" y="703"/>
                    </a:lnTo>
                    <a:lnTo>
                      <a:pt x="21" y="754"/>
                    </a:lnTo>
                    <a:lnTo>
                      <a:pt x="14" y="806"/>
                    </a:lnTo>
                    <a:lnTo>
                      <a:pt x="8" y="860"/>
                    </a:lnTo>
                    <a:lnTo>
                      <a:pt x="3" y="914"/>
                    </a:lnTo>
                    <a:lnTo>
                      <a:pt x="0" y="971"/>
                    </a:lnTo>
                    <a:lnTo>
                      <a:pt x="0" y="1028"/>
                    </a:lnTo>
                    <a:lnTo>
                      <a:pt x="1" y="1095"/>
                    </a:lnTo>
                    <a:lnTo>
                      <a:pt x="3" y="1161"/>
                    </a:lnTo>
                    <a:lnTo>
                      <a:pt x="9" y="1225"/>
                    </a:lnTo>
                    <a:lnTo>
                      <a:pt x="15" y="1289"/>
                    </a:lnTo>
                    <a:lnTo>
                      <a:pt x="24" y="1351"/>
                    </a:lnTo>
                    <a:lnTo>
                      <a:pt x="35" y="1412"/>
                    </a:lnTo>
                    <a:lnTo>
                      <a:pt x="48" y="1471"/>
                    </a:lnTo>
                    <a:lnTo>
                      <a:pt x="63" y="1528"/>
                    </a:lnTo>
                    <a:lnTo>
                      <a:pt x="80" y="1585"/>
                    </a:lnTo>
                    <a:lnTo>
                      <a:pt x="99" y="1639"/>
                    </a:lnTo>
                    <a:lnTo>
                      <a:pt x="121" y="1692"/>
                    </a:lnTo>
                    <a:lnTo>
                      <a:pt x="144" y="1742"/>
                    </a:lnTo>
                    <a:lnTo>
                      <a:pt x="170" y="1791"/>
                    </a:lnTo>
                    <a:lnTo>
                      <a:pt x="198" y="1839"/>
                    </a:lnTo>
                    <a:lnTo>
                      <a:pt x="228" y="1884"/>
                    </a:lnTo>
                    <a:lnTo>
                      <a:pt x="261" y="1927"/>
                    </a:lnTo>
                    <a:lnTo>
                      <a:pt x="295" y="1967"/>
                    </a:lnTo>
                    <a:lnTo>
                      <a:pt x="332" y="2006"/>
                    </a:lnTo>
                    <a:lnTo>
                      <a:pt x="371" y="2043"/>
                    </a:lnTo>
                    <a:lnTo>
                      <a:pt x="413" y="2077"/>
                    </a:lnTo>
                    <a:lnTo>
                      <a:pt x="458" y="2109"/>
                    </a:lnTo>
                    <a:lnTo>
                      <a:pt x="504" y="2138"/>
                    </a:lnTo>
                    <a:lnTo>
                      <a:pt x="552" y="2166"/>
                    </a:lnTo>
                    <a:lnTo>
                      <a:pt x="604" y="2190"/>
                    </a:lnTo>
                    <a:lnTo>
                      <a:pt x="657" y="2212"/>
                    </a:lnTo>
                    <a:lnTo>
                      <a:pt x="713" y="2231"/>
                    </a:lnTo>
                    <a:lnTo>
                      <a:pt x="772" y="2247"/>
                    </a:lnTo>
                    <a:lnTo>
                      <a:pt x="834" y="2261"/>
                    </a:lnTo>
                    <a:lnTo>
                      <a:pt x="897" y="2271"/>
                    </a:lnTo>
                    <a:lnTo>
                      <a:pt x="963" y="2279"/>
                    </a:lnTo>
                    <a:lnTo>
                      <a:pt x="1033" y="2284"/>
                    </a:lnTo>
                    <a:lnTo>
                      <a:pt x="1104" y="2285"/>
                    </a:lnTo>
                    <a:lnTo>
                      <a:pt x="1143" y="2285"/>
                    </a:lnTo>
                    <a:lnTo>
                      <a:pt x="1182" y="2284"/>
                    </a:lnTo>
                    <a:lnTo>
                      <a:pt x="1221" y="2283"/>
                    </a:lnTo>
                    <a:lnTo>
                      <a:pt x="1260" y="2281"/>
                    </a:lnTo>
                    <a:lnTo>
                      <a:pt x="1297" y="2278"/>
                    </a:lnTo>
                    <a:lnTo>
                      <a:pt x="1336" y="2275"/>
                    </a:lnTo>
                    <a:lnTo>
                      <a:pt x="1375" y="2270"/>
                    </a:lnTo>
                    <a:lnTo>
                      <a:pt x="1413" y="2265"/>
                    </a:lnTo>
                    <a:lnTo>
                      <a:pt x="1452" y="2260"/>
                    </a:lnTo>
                    <a:lnTo>
                      <a:pt x="1490" y="2254"/>
                    </a:lnTo>
                    <a:lnTo>
                      <a:pt x="1528" y="2246"/>
                    </a:lnTo>
                    <a:lnTo>
                      <a:pt x="1566" y="2239"/>
                    </a:lnTo>
                    <a:lnTo>
                      <a:pt x="1603" y="2229"/>
                    </a:lnTo>
                    <a:lnTo>
                      <a:pt x="1641" y="2220"/>
                    </a:lnTo>
                    <a:lnTo>
                      <a:pt x="1679" y="2210"/>
                    </a:lnTo>
                    <a:lnTo>
                      <a:pt x="1716" y="2198"/>
                    </a:lnTo>
                    <a:lnTo>
                      <a:pt x="1716" y="1845"/>
                    </a:lnTo>
                    <a:lnTo>
                      <a:pt x="1666" y="1862"/>
                    </a:lnTo>
                    <a:lnTo>
                      <a:pt x="1616" y="1877"/>
                    </a:lnTo>
                    <a:lnTo>
                      <a:pt x="1563" y="1891"/>
                    </a:lnTo>
                    <a:lnTo>
                      <a:pt x="1510" y="1904"/>
                    </a:lnTo>
                    <a:lnTo>
                      <a:pt x="1484" y="1909"/>
                    </a:lnTo>
                    <a:lnTo>
                      <a:pt x="1456" y="1913"/>
                    </a:lnTo>
                    <a:lnTo>
                      <a:pt x="1430" y="1917"/>
                    </a:lnTo>
                    <a:lnTo>
                      <a:pt x="1403" y="1920"/>
                    </a:lnTo>
                    <a:lnTo>
                      <a:pt x="1376" y="1923"/>
                    </a:lnTo>
                    <a:lnTo>
                      <a:pt x="1350" y="1926"/>
                    </a:lnTo>
                    <a:lnTo>
                      <a:pt x="1324" y="1927"/>
                    </a:lnTo>
                    <a:lnTo>
                      <a:pt x="1297" y="1928"/>
                    </a:lnTo>
                    <a:lnTo>
                      <a:pt x="1251" y="1926"/>
                    </a:lnTo>
                    <a:lnTo>
                      <a:pt x="1206" y="1922"/>
                    </a:lnTo>
                    <a:lnTo>
                      <a:pt x="1162" y="1916"/>
                    </a:lnTo>
                    <a:lnTo>
                      <a:pt x="1120" y="1907"/>
                    </a:lnTo>
                    <a:lnTo>
                      <a:pt x="1078" y="1896"/>
                    </a:lnTo>
                    <a:lnTo>
                      <a:pt x="1037" y="1883"/>
                    </a:lnTo>
                    <a:lnTo>
                      <a:pt x="997" y="1867"/>
                    </a:lnTo>
                    <a:lnTo>
                      <a:pt x="959" y="1849"/>
                    </a:lnTo>
                    <a:lnTo>
                      <a:pt x="922" y="1829"/>
                    </a:lnTo>
                    <a:lnTo>
                      <a:pt x="886" y="1808"/>
                    </a:lnTo>
                    <a:lnTo>
                      <a:pt x="852" y="1784"/>
                    </a:lnTo>
                    <a:lnTo>
                      <a:pt x="818" y="1759"/>
                    </a:lnTo>
                    <a:lnTo>
                      <a:pt x="787" y="1733"/>
                    </a:lnTo>
                    <a:lnTo>
                      <a:pt x="756" y="1703"/>
                    </a:lnTo>
                    <a:lnTo>
                      <a:pt x="727" y="1674"/>
                    </a:lnTo>
                    <a:lnTo>
                      <a:pt x="699" y="1643"/>
                    </a:lnTo>
                    <a:lnTo>
                      <a:pt x="673" y="1609"/>
                    </a:lnTo>
                    <a:lnTo>
                      <a:pt x="648" y="1575"/>
                    </a:lnTo>
                    <a:lnTo>
                      <a:pt x="625" y="1540"/>
                    </a:lnTo>
                    <a:lnTo>
                      <a:pt x="604" y="1504"/>
                    </a:lnTo>
                    <a:lnTo>
                      <a:pt x="584" y="1466"/>
                    </a:lnTo>
                    <a:lnTo>
                      <a:pt x="565" y="1428"/>
                    </a:lnTo>
                    <a:lnTo>
                      <a:pt x="548" y="1389"/>
                    </a:lnTo>
                    <a:lnTo>
                      <a:pt x="533" y="1349"/>
                    </a:lnTo>
                    <a:lnTo>
                      <a:pt x="520" y="1308"/>
                    </a:lnTo>
                    <a:lnTo>
                      <a:pt x="507" y="1266"/>
                    </a:lnTo>
                    <a:lnTo>
                      <a:pt x="498" y="1224"/>
                    </a:lnTo>
                    <a:lnTo>
                      <a:pt x="489" y="1182"/>
                    </a:lnTo>
                    <a:lnTo>
                      <a:pt x="483" y="1139"/>
                    </a:lnTo>
                    <a:lnTo>
                      <a:pt x="478" y="1096"/>
                    </a:lnTo>
                    <a:lnTo>
                      <a:pt x="475" y="1054"/>
                    </a:lnTo>
                    <a:lnTo>
                      <a:pt x="474" y="1009"/>
                    </a:lnTo>
                    <a:lnTo>
                      <a:pt x="1771" y="1009"/>
                    </a:lnTo>
                    <a:close/>
                    <a:moveTo>
                      <a:pt x="1288" y="702"/>
                    </a:moveTo>
                    <a:lnTo>
                      <a:pt x="488" y="702"/>
                    </a:lnTo>
                    <a:lnTo>
                      <a:pt x="490" y="681"/>
                    </a:lnTo>
                    <a:lnTo>
                      <a:pt x="493" y="662"/>
                    </a:lnTo>
                    <a:lnTo>
                      <a:pt x="498" y="643"/>
                    </a:lnTo>
                    <a:lnTo>
                      <a:pt x="503" y="623"/>
                    </a:lnTo>
                    <a:lnTo>
                      <a:pt x="509" y="604"/>
                    </a:lnTo>
                    <a:lnTo>
                      <a:pt x="515" y="586"/>
                    </a:lnTo>
                    <a:lnTo>
                      <a:pt x="523" y="568"/>
                    </a:lnTo>
                    <a:lnTo>
                      <a:pt x="531" y="550"/>
                    </a:lnTo>
                    <a:lnTo>
                      <a:pt x="540" y="534"/>
                    </a:lnTo>
                    <a:lnTo>
                      <a:pt x="549" y="518"/>
                    </a:lnTo>
                    <a:lnTo>
                      <a:pt x="560" y="502"/>
                    </a:lnTo>
                    <a:lnTo>
                      <a:pt x="570" y="487"/>
                    </a:lnTo>
                    <a:lnTo>
                      <a:pt x="582" y="472"/>
                    </a:lnTo>
                    <a:lnTo>
                      <a:pt x="594" y="458"/>
                    </a:lnTo>
                    <a:lnTo>
                      <a:pt x="607" y="445"/>
                    </a:lnTo>
                    <a:lnTo>
                      <a:pt x="621" y="432"/>
                    </a:lnTo>
                    <a:lnTo>
                      <a:pt x="634" y="419"/>
                    </a:lnTo>
                    <a:lnTo>
                      <a:pt x="649" y="408"/>
                    </a:lnTo>
                    <a:lnTo>
                      <a:pt x="664" y="397"/>
                    </a:lnTo>
                    <a:lnTo>
                      <a:pt x="679" y="387"/>
                    </a:lnTo>
                    <a:lnTo>
                      <a:pt x="696" y="378"/>
                    </a:lnTo>
                    <a:lnTo>
                      <a:pt x="712" y="369"/>
                    </a:lnTo>
                    <a:lnTo>
                      <a:pt x="730" y="362"/>
                    </a:lnTo>
                    <a:lnTo>
                      <a:pt x="747" y="354"/>
                    </a:lnTo>
                    <a:lnTo>
                      <a:pt x="765" y="348"/>
                    </a:lnTo>
                    <a:lnTo>
                      <a:pt x="783" y="342"/>
                    </a:lnTo>
                    <a:lnTo>
                      <a:pt x="802" y="338"/>
                    </a:lnTo>
                    <a:lnTo>
                      <a:pt x="821" y="333"/>
                    </a:lnTo>
                    <a:lnTo>
                      <a:pt x="841" y="330"/>
                    </a:lnTo>
                    <a:lnTo>
                      <a:pt x="861" y="328"/>
                    </a:lnTo>
                    <a:lnTo>
                      <a:pt x="881" y="327"/>
                    </a:lnTo>
                    <a:lnTo>
                      <a:pt x="901" y="326"/>
                    </a:lnTo>
                    <a:lnTo>
                      <a:pt x="923" y="326"/>
                    </a:lnTo>
                    <a:lnTo>
                      <a:pt x="944" y="328"/>
                    </a:lnTo>
                    <a:lnTo>
                      <a:pt x="965" y="330"/>
                    </a:lnTo>
                    <a:lnTo>
                      <a:pt x="985" y="332"/>
                    </a:lnTo>
                    <a:lnTo>
                      <a:pt x="1005" y="337"/>
                    </a:lnTo>
                    <a:lnTo>
                      <a:pt x="1024" y="341"/>
                    </a:lnTo>
                    <a:lnTo>
                      <a:pt x="1043" y="346"/>
                    </a:lnTo>
                    <a:lnTo>
                      <a:pt x="1061" y="352"/>
                    </a:lnTo>
                    <a:lnTo>
                      <a:pt x="1079" y="359"/>
                    </a:lnTo>
                    <a:lnTo>
                      <a:pt x="1096" y="366"/>
                    </a:lnTo>
                    <a:lnTo>
                      <a:pt x="1111" y="374"/>
                    </a:lnTo>
                    <a:lnTo>
                      <a:pt x="1127" y="384"/>
                    </a:lnTo>
                    <a:lnTo>
                      <a:pt x="1142" y="393"/>
                    </a:lnTo>
                    <a:lnTo>
                      <a:pt x="1157" y="404"/>
                    </a:lnTo>
                    <a:lnTo>
                      <a:pt x="1170" y="415"/>
                    </a:lnTo>
                    <a:lnTo>
                      <a:pt x="1183" y="427"/>
                    </a:lnTo>
                    <a:lnTo>
                      <a:pt x="1196" y="439"/>
                    </a:lnTo>
                    <a:lnTo>
                      <a:pt x="1207" y="452"/>
                    </a:lnTo>
                    <a:lnTo>
                      <a:pt x="1218" y="467"/>
                    </a:lnTo>
                    <a:lnTo>
                      <a:pt x="1228" y="480"/>
                    </a:lnTo>
                    <a:lnTo>
                      <a:pt x="1238" y="496"/>
                    </a:lnTo>
                    <a:lnTo>
                      <a:pt x="1246" y="512"/>
                    </a:lnTo>
                    <a:lnTo>
                      <a:pt x="1253" y="528"/>
                    </a:lnTo>
                    <a:lnTo>
                      <a:pt x="1261" y="545"/>
                    </a:lnTo>
                    <a:lnTo>
                      <a:pt x="1267" y="563"/>
                    </a:lnTo>
                    <a:lnTo>
                      <a:pt x="1272" y="581"/>
                    </a:lnTo>
                    <a:lnTo>
                      <a:pt x="1278" y="600"/>
                    </a:lnTo>
                    <a:lnTo>
                      <a:pt x="1281" y="619"/>
                    </a:lnTo>
                    <a:lnTo>
                      <a:pt x="1284" y="640"/>
                    </a:lnTo>
                    <a:lnTo>
                      <a:pt x="1286" y="659"/>
                    </a:lnTo>
                    <a:lnTo>
                      <a:pt x="1288" y="680"/>
                    </a:lnTo>
                    <a:lnTo>
                      <a:pt x="1288" y="70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0" name="Freeform 9"/>
              <p:cNvSpPr>
                <a:spLocks/>
              </p:cNvSpPr>
              <p:nvPr userDrawn="1"/>
            </p:nvSpPr>
            <p:spPr bwMode="auto">
              <a:xfrm>
                <a:off x="2076450" y="2555875"/>
                <a:ext cx="254000" cy="322263"/>
              </a:xfrm>
              <a:custGeom>
                <a:avLst/>
                <a:gdLst/>
                <a:ahLst/>
                <a:cxnLst>
                  <a:cxn ang="0">
                    <a:pos x="1252" y="940"/>
                  </a:cxn>
                  <a:cxn ang="0">
                    <a:pos x="1250" y="815"/>
                  </a:cxn>
                  <a:cxn ang="0">
                    <a:pos x="1242" y="710"/>
                  </a:cxn>
                  <a:cxn ang="0">
                    <a:pos x="1223" y="612"/>
                  </a:cxn>
                  <a:cxn ang="0">
                    <a:pos x="1208" y="570"/>
                  </a:cxn>
                  <a:cxn ang="0">
                    <a:pos x="1188" y="537"/>
                  </a:cxn>
                  <a:cxn ang="0">
                    <a:pos x="1166" y="513"/>
                  </a:cxn>
                  <a:cxn ang="0">
                    <a:pos x="1142" y="497"/>
                  </a:cxn>
                  <a:cxn ang="0">
                    <a:pos x="1115" y="487"/>
                  </a:cxn>
                  <a:cxn ang="0">
                    <a:pos x="1065" y="479"/>
                  </a:cxn>
                  <a:cxn ang="0">
                    <a:pos x="993" y="479"/>
                  </a:cxn>
                  <a:cxn ang="0">
                    <a:pos x="898" y="500"/>
                  </a:cxn>
                  <a:cxn ang="0">
                    <a:pos x="816" y="544"/>
                  </a:cxn>
                  <a:cxn ang="0">
                    <a:pos x="744" y="607"/>
                  </a:cxn>
                  <a:cxn ang="0">
                    <a:pos x="683" y="685"/>
                  </a:cxn>
                  <a:cxn ang="0">
                    <a:pos x="631" y="774"/>
                  </a:cxn>
                  <a:cxn ang="0">
                    <a:pos x="589" y="870"/>
                  </a:cxn>
                  <a:cxn ang="0">
                    <a:pos x="556" y="972"/>
                  </a:cxn>
                  <a:cxn ang="0">
                    <a:pos x="533" y="1072"/>
                  </a:cxn>
                  <a:cxn ang="0">
                    <a:pos x="519" y="1171"/>
                  </a:cxn>
                  <a:cxn ang="0">
                    <a:pos x="511" y="1262"/>
                  </a:cxn>
                  <a:cxn ang="0">
                    <a:pos x="0" y="2235"/>
                  </a:cxn>
                  <a:cxn ang="0">
                    <a:pos x="511" y="459"/>
                  </a:cxn>
                  <a:cxn ang="0">
                    <a:pos x="543" y="408"/>
                  </a:cxn>
                  <a:cxn ang="0">
                    <a:pos x="582" y="336"/>
                  </a:cxn>
                  <a:cxn ang="0">
                    <a:pos x="626" y="270"/>
                  </a:cxn>
                  <a:cxn ang="0">
                    <a:pos x="676" y="210"/>
                  </a:cxn>
                  <a:cxn ang="0">
                    <a:pos x="731" y="156"/>
                  </a:cxn>
                  <a:cxn ang="0">
                    <a:pos x="791" y="110"/>
                  </a:cxn>
                  <a:cxn ang="0">
                    <a:pos x="856" y="71"/>
                  </a:cxn>
                  <a:cxn ang="0">
                    <a:pos x="927" y="41"/>
                  </a:cxn>
                  <a:cxn ang="0">
                    <a:pos x="1003" y="19"/>
                  </a:cxn>
                  <a:cxn ang="0">
                    <a:pos x="1083" y="5"/>
                  </a:cxn>
                  <a:cxn ang="0">
                    <a:pos x="1169" y="0"/>
                  </a:cxn>
                  <a:cxn ang="0">
                    <a:pos x="1281" y="10"/>
                  </a:cxn>
                  <a:cxn ang="0">
                    <a:pos x="1379" y="35"/>
                  </a:cxn>
                  <a:cxn ang="0">
                    <a:pos x="1466" y="76"/>
                  </a:cxn>
                  <a:cxn ang="0">
                    <a:pos x="1540" y="129"/>
                  </a:cxn>
                  <a:cxn ang="0">
                    <a:pos x="1603" y="195"/>
                  </a:cxn>
                  <a:cxn ang="0">
                    <a:pos x="1656" y="272"/>
                  </a:cxn>
                  <a:cxn ang="0">
                    <a:pos x="1697" y="357"/>
                  </a:cxn>
                  <a:cxn ang="0">
                    <a:pos x="1728" y="450"/>
                  </a:cxn>
                  <a:cxn ang="0">
                    <a:pos x="1748" y="548"/>
                  </a:cxn>
                  <a:cxn ang="0">
                    <a:pos x="1760" y="651"/>
                  </a:cxn>
                  <a:cxn ang="0">
                    <a:pos x="1762" y="2235"/>
                  </a:cxn>
                </a:cxnLst>
                <a:rect l="0" t="0" r="r" b="b"/>
                <a:pathLst>
                  <a:path w="1762" h="2235">
                    <a:moveTo>
                      <a:pt x="1252" y="2235"/>
                    </a:moveTo>
                    <a:lnTo>
                      <a:pt x="1252" y="986"/>
                    </a:lnTo>
                    <a:lnTo>
                      <a:pt x="1252" y="940"/>
                    </a:lnTo>
                    <a:lnTo>
                      <a:pt x="1252" y="881"/>
                    </a:lnTo>
                    <a:lnTo>
                      <a:pt x="1251" y="848"/>
                    </a:lnTo>
                    <a:lnTo>
                      <a:pt x="1250" y="815"/>
                    </a:lnTo>
                    <a:lnTo>
                      <a:pt x="1248" y="779"/>
                    </a:lnTo>
                    <a:lnTo>
                      <a:pt x="1245" y="744"/>
                    </a:lnTo>
                    <a:lnTo>
                      <a:pt x="1242" y="710"/>
                    </a:lnTo>
                    <a:lnTo>
                      <a:pt x="1237" y="675"/>
                    </a:lnTo>
                    <a:lnTo>
                      <a:pt x="1230" y="643"/>
                    </a:lnTo>
                    <a:lnTo>
                      <a:pt x="1223" y="612"/>
                    </a:lnTo>
                    <a:lnTo>
                      <a:pt x="1218" y="598"/>
                    </a:lnTo>
                    <a:lnTo>
                      <a:pt x="1213" y="584"/>
                    </a:lnTo>
                    <a:lnTo>
                      <a:pt x="1208" y="570"/>
                    </a:lnTo>
                    <a:lnTo>
                      <a:pt x="1202" y="559"/>
                    </a:lnTo>
                    <a:lnTo>
                      <a:pt x="1196" y="547"/>
                    </a:lnTo>
                    <a:lnTo>
                      <a:pt x="1188" y="537"/>
                    </a:lnTo>
                    <a:lnTo>
                      <a:pt x="1181" y="527"/>
                    </a:lnTo>
                    <a:lnTo>
                      <a:pt x="1173" y="519"/>
                    </a:lnTo>
                    <a:lnTo>
                      <a:pt x="1166" y="513"/>
                    </a:lnTo>
                    <a:lnTo>
                      <a:pt x="1159" y="506"/>
                    </a:lnTo>
                    <a:lnTo>
                      <a:pt x="1150" y="501"/>
                    </a:lnTo>
                    <a:lnTo>
                      <a:pt x="1142" y="497"/>
                    </a:lnTo>
                    <a:lnTo>
                      <a:pt x="1133" y="493"/>
                    </a:lnTo>
                    <a:lnTo>
                      <a:pt x="1124" y="490"/>
                    </a:lnTo>
                    <a:lnTo>
                      <a:pt x="1115" y="487"/>
                    </a:lnTo>
                    <a:lnTo>
                      <a:pt x="1105" y="484"/>
                    </a:lnTo>
                    <a:lnTo>
                      <a:pt x="1085" y="481"/>
                    </a:lnTo>
                    <a:lnTo>
                      <a:pt x="1065" y="479"/>
                    </a:lnTo>
                    <a:lnTo>
                      <a:pt x="1045" y="478"/>
                    </a:lnTo>
                    <a:lnTo>
                      <a:pt x="1026" y="478"/>
                    </a:lnTo>
                    <a:lnTo>
                      <a:pt x="993" y="479"/>
                    </a:lnTo>
                    <a:lnTo>
                      <a:pt x="960" y="483"/>
                    </a:lnTo>
                    <a:lnTo>
                      <a:pt x="929" y="491"/>
                    </a:lnTo>
                    <a:lnTo>
                      <a:pt x="898" y="500"/>
                    </a:lnTo>
                    <a:lnTo>
                      <a:pt x="870" y="513"/>
                    </a:lnTo>
                    <a:lnTo>
                      <a:pt x="842" y="527"/>
                    </a:lnTo>
                    <a:lnTo>
                      <a:pt x="816" y="544"/>
                    </a:lnTo>
                    <a:lnTo>
                      <a:pt x="791" y="563"/>
                    </a:lnTo>
                    <a:lnTo>
                      <a:pt x="767" y="584"/>
                    </a:lnTo>
                    <a:lnTo>
                      <a:pt x="744" y="607"/>
                    </a:lnTo>
                    <a:lnTo>
                      <a:pt x="721" y="631"/>
                    </a:lnTo>
                    <a:lnTo>
                      <a:pt x="701" y="657"/>
                    </a:lnTo>
                    <a:lnTo>
                      <a:pt x="683" y="685"/>
                    </a:lnTo>
                    <a:lnTo>
                      <a:pt x="664" y="713"/>
                    </a:lnTo>
                    <a:lnTo>
                      <a:pt x="647" y="743"/>
                    </a:lnTo>
                    <a:lnTo>
                      <a:pt x="631" y="774"/>
                    </a:lnTo>
                    <a:lnTo>
                      <a:pt x="615" y="805"/>
                    </a:lnTo>
                    <a:lnTo>
                      <a:pt x="602" y="838"/>
                    </a:lnTo>
                    <a:lnTo>
                      <a:pt x="589" y="870"/>
                    </a:lnTo>
                    <a:lnTo>
                      <a:pt x="577" y="904"/>
                    </a:lnTo>
                    <a:lnTo>
                      <a:pt x="566" y="937"/>
                    </a:lnTo>
                    <a:lnTo>
                      <a:pt x="556" y="972"/>
                    </a:lnTo>
                    <a:lnTo>
                      <a:pt x="548" y="1005"/>
                    </a:lnTo>
                    <a:lnTo>
                      <a:pt x="540" y="1039"/>
                    </a:lnTo>
                    <a:lnTo>
                      <a:pt x="533" y="1072"/>
                    </a:lnTo>
                    <a:lnTo>
                      <a:pt x="527" y="1106"/>
                    </a:lnTo>
                    <a:lnTo>
                      <a:pt x="522" y="1138"/>
                    </a:lnTo>
                    <a:lnTo>
                      <a:pt x="519" y="1171"/>
                    </a:lnTo>
                    <a:lnTo>
                      <a:pt x="515" y="1202"/>
                    </a:lnTo>
                    <a:lnTo>
                      <a:pt x="513" y="1233"/>
                    </a:lnTo>
                    <a:lnTo>
                      <a:pt x="511" y="1262"/>
                    </a:lnTo>
                    <a:lnTo>
                      <a:pt x="511" y="1290"/>
                    </a:lnTo>
                    <a:lnTo>
                      <a:pt x="511" y="2235"/>
                    </a:lnTo>
                    <a:lnTo>
                      <a:pt x="0" y="2235"/>
                    </a:lnTo>
                    <a:lnTo>
                      <a:pt x="0" y="52"/>
                    </a:lnTo>
                    <a:lnTo>
                      <a:pt x="511" y="52"/>
                    </a:lnTo>
                    <a:lnTo>
                      <a:pt x="511" y="459"/>
                    </a:lnTo>
                    <a:lnTo>
                      <a:pt x="521" y="459"/>
                    </a:lnTo>
                    <a:lnTo>
                      <a:pt x="531" y="433"/>
                    </a:lnTo>
                    <a:lnTo>
                      <a:pt x="543" y="408"/>
                    </a:lnTo>
                    <a:lnTo>
                      <a:pt x="555" y="384"/>
                    </a:lnTo>
                    <a:lnTo>
                      <a:pt x="568" y="360"/>
                    </a:lnTo>
                    <a:lnTo>
                      <a:pt x="582" y="336"/>
                    </a:lnTo>
                    <a:lnTo>
                      <a:pt x="596" y="314"/>
                    </a:lnTo>
                    <a:lnTo>
                      <a:pt x="611" y="292"/>
                    </a:lnTo>
                    <a:lnTo>
                      <a:pt x="626" y="270"/>
                    </a:lnTo>
                    <a:lnTo>
                      <a:pt x="642" y="249"/>
                    </a:lnTo>
                    <a:lnTo>
                      <a:pt x="658" y="229"/>
                    </a:lnTo>
                    <a:lnTo>
                      <a:pt x="676" y="210"/>
                    </a:lnTo>
                    <a:lnTo>
                      <a:pt x="693" y="191"/>
                    </a:lnTo>
                    <a:lnTo>
                      <a:pt x="712" y="173"/>
                    </a:lnTo>
                    <a:lnTo>
                      <a:pt x="731" y="156"/>
                    </a:lnTo>
                    <a:lnTo>
                      <a:pt x="750" y="141"/>
                    </a:lnTo>
                    <a:lnTo>
                      <a:pt x="771" y="125"/>
                    </a:lnTo>
                    <a:lnTo>
                      <a:pt x="791" y="110"/>
                    </a:lnTo>
                    <a:lnTo>
                      <a:pt x="812" y="97"/>
                    </a:lnTo>
                    <a:lnTo>
                      <a:pt x="834" y="84"/>
                    </a:lnTo>
                    <a:lnTo>
                      <a:pt x="856" y="71"/>
                    </a:lnTo>
                    <a:lnTo>
                      <a:pt x="879" y="61"/>
                    </a:lnTo>
                    <a:lnTo>
                      <a:pt x="903" y="51"/>
                    </a:lnTo>
                    <a:lnTo>
                      <a:pt x="927" y="41"/>
                    </a:lnTo>
                    <a:lnTo>
                      <a:pt x="952" y="33"/>
                    </a:lnTo>
                    <a:lnTo>
                      <a:pt x="977" y="25"/>
                    </a:lnTo>
                    <a:lnTo>
                      <a:pt x="1003" y="19"/>
                    </a:lnTo>
                    <a:lnTo>
                      <a:pt x="1029" y="14"/>
                    </a:lnTo>
                    <a:lnTo>
                      <a:pt x="1056" y="9"/>
                    </a:lnTo>
                    <a:lnTo>
                      <a:pt x="1083" y="5"/>
                    </a:lnTo>
                    <a:lnTo>
                      <a:pt x="1111" y="2"/>
                    </a:lnTo>
                    <a:lnTo>
                      <a:pt x="1140" y="1"/>
                    </a:lnTo>
                    <a:lnTo>
                      <a:pt x="1169" y="0"/>
                    </a:lnTo>
                    <a:lnTo>
                      <a:pt x="1207" y="1"/>
                    </a:lnTo>
                    <a:lnTo>
                      <a:pt x="1245" y="4"/>
                    </a:lnTo>
                    <a:lnTo>
                      <a:pt x="1281" y="10"/>
                    </a:lnTo>
                    <a:lnTo>
                      <a:pt x="1314" y="16"/>
                    </a:lnTo>
                    <a:lnTo>
                      <a:pt x="1348" y="24"/>
                    </a:lnTo>
                    <a:lnTo>
                      <a:pt x="1379" y="35"/>
                    </a:lnTo>
                    <a:lnTo>
                      <a:pt x="1409" y="46"/>
                    </a:lnTo>
                    <a:lnTo>
                      <a:pt x="1438" y="60"/>
                    </a:lnTo>
                    <a:lnTo>
                      <a:pt x="1466" y="76"/>
                    </a:lnTo>
                    <a:lnTo>
                      <a:pt x="1492" y="91"/>
                    </a:lnTo>
                    <a:lnTo>
                      <a:pt x="1517" y="110"/>
                    </a:lnTo>
                    <a:lnTo>
                      <a:pt x="1540" y="129"/>
                    </a:lnTo>
                    <a:lnTo>
                      <a:pt x="1562" y="150"/>
                    </a:lnTo>
                    <a:lnTo>
                      <a:pt x="1583" y="172"/>
                    </a:lnTo>
                    <a:lnTo>
                      <a:pt x="1603" y="195"/>
                    </a:lnTo>
                    <a:lnTo>
                      <a:pt x="1622" y="219"/>
                    </a:lnTo>
                    <a:lnTo>
                      <a:pt x="1640" y="245"/>
                    </a:lnTo>
                    <a:lnTo>
                      <a:pt x="1656" y="272"/>
                    </a:lnTo>
                    <a:lnTo>
                      <a:pt x="1671" y="299"/>
                    </a:lnTo>
                    <a:lnTo>
                      <a:pt x="1684" y="327"/>
                    </a:lnTo>
                    <a:lnTo>
                      <a:pt x="1697" y="357"/>
                    </a:lnTo>
                    <a:lnTo>
                      <a:pt x="1708" y="387"/>
                    </a:lnTo>
                    <a:lnTo>
                      <a:pt x="1719" y="418"/>
                    </a:lnTo>
                    <a:lnTo>
                      <a:pt x="1728" y="450"/>
                    </a:lnTo>
                    <a:lnTo>
                      <a:pt x="1736" y="482"/>
                    </a:lnTo>
                    <a:lnTo>
                      <a:pt x="1743" y="515"/>
                    </a:lnTo>
                    <a:lnTo>
                      <a:pt x="1748" y="548"/>
                    </a:lnTo>
                    <a:lnTo>
                      <a:pt x="1754" y="582"/>
                    </a:lnTo>
                    <a:lnTo>
                      <a:pt x="1757" y="616"/>
                    </a:lnTo>
                    <a:lnTo>
                      <a:pt x="1760" y="651"/>
                    </a:lnTo>
                    <a:lnTo>
                      <a:pt x="1761" y="686"/>
                    </a:lnTo>
                    <a:lnTo>
                      <a:pt x="1762" y="721"/>
                    </a:lnTo>
                    <a:lnTo>
                      <a:pt x="1762" y="2235"/>
                    </a:lnTo>
                    <a:lnTo>
                      <a:pt x="1252" y="2235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1" name="Freeform 10"/>
              <p:cNvSpPr>
                <a:spLocks/>
              </p:cNvSpPr>
              <p:nvPr userDrawn="1"/>
            </p:nvSpPr>
            <p:spPr bwMode="auto">
              <a:xfrm>
                <a:off x="2349500" y="2459038"/>
                <a:ext cx="228600" cy="427038"/>
              </a:xfrm>
              <a:custGeom>
                <a:avLst/>
                <a:gdLst/>
                <a:ahLst/>
                <a:cxnLst>
                  <a:cxn ang="0">
                    <a:pos x="939" y="2110"/>
                  </a:cxn>
                  <a:cxn ang="0">
                    <a:pos x="941" y="2205"/>
                  </a:cxn>
                  <a:cxn ang="0">
                    <a:pos x="948" y="2296"/>
                  </a:cxn>
                  <a:cxn ang="0">
                    <a:pos x="956" y="2339"/>
                  </a:cxn>
                  <a:cxn ang="0">
                    <a:pos x="964" y="2378"/>
                  </a:cxn>
                  <a:cxn ang="0">
                    <a:pos x="977" y="2417"/>
                  </a:cxn>
                  <a:cxn ang="0">
                    <a:pos x="992" y="2452"/>
                  </a:cxn>
                  <a:cxn ang="0">
                    <a:pos x="1012" y="2484"/>
                  </a:cxn>
                  <a:cxn ang="0">
                    <a:pos x="1036" y="2514"/>
                  </a:cxn>
                  <a:cxn ang="0">
                    <a:pos x="1063" y="2539"/>
                  </a:cxn>
                  <a:cxn ang="0">
                    <a:pos x="1097" y="2561"/>
                  </a:cxn>
                  <a:cxn ang="0">
                    <a:pos x="1134" y="2578"/>
                  </a:cxn>
                  <a:cxn ang="0">
                    <a:pos x="1179" y="2591"/>
                  </a:cxn>
                  <a:cxn ang="0">
                    <a:pos x="1228" y="2598"/>
                  </a:cxn>
                  <a:cxn ang="0">
                    <a:pos x="1285" y="2602"/>
                  </a:cxn>
                  <a:cxn ang="0">
                    <a:pos x="1343" y="2598"/>
                  </a:cxn>
                  <a:cxn ang="0">
                    <a:pos x="1401" y="2590"/>
                  </a:cxn>
                  <a:cxn ang="0">
                    <a:pos x="1460" y="2578"/>
                  </a:cxn>
                  <a:cxn ang="0">
                    <a:pos x="1519" y="2565"/>
                  </a:cxn>
                  <a:cxn ang="0">
                    <a:pos x="1467" y="2931"/>
                  </a:cxn>
                  <a:cxn ang="0">
                    <a:pos x="1361" y="2944"/>
                  </a:cxn>
                  <a:cxn ang="0">
                    <a:pos x="1256" y="2954"/>
                  </a:cxn>
                  <a:cxn ang="0">
                    <a:pos x="1152" y="2958"/>
                  </a:cxn>
                  <a:cxn ang="0">
                    <a:pos x="1059" y="2959"/>
                  </a:cxn>
                  <a:cxn ang="0">
                    <a:pos x="981" y="2955"/>
                  </a:cxn>
                  <a:cxn ang="0">
                    <a:pos x="907" y="2947"/>
                  </a:cxn>
                  <a:cxn ang="0">
                    <a:pos x="839" y="2936"/>
                  </a:cxn>
                  <a:cxn ang="0">
                    <a:pos x="776" y="2920"/>
                  </a:cxn>
                  <a:cxn ang="0">
                    <a:pos x="718" y="2900"/>
                  </a:cxn>
                  <a:cxn ang="0">
                    <a:pos x="666" y="2875"/>
                  </a:cxn>
                  <a:cxn ang="0">
                    <a:pos x="618" y="2846"/>
                  </a:cxn>
                  <a:cxn ang="0">
                    <a:pos x="576" y="2810"/>
                  </a:cxn>
                  <a:cxn ang="0">
                    <a:pos x="539" y="2770"/>
                  </a:cxn>
                  <a:cxn ang="0">
                    <a:pos x="508" y="2724"/>
                  </a:cxn>
                  <a:cxn ang="0">
                    <a:pos x="482" y="2672"/>
                  </a:cxn>
                  <a:cxn ang="0">
                    <a:pos x="461" y="2614"/>
                  </a:cxn>
                  <a:cxn ang="0">
                    <a:pos x="445" y="2549"/>
                  </a:cxn>
                  <a:cxn ang="0">
                    <a:pos x="434" y="2478"/>
                  </a:cxn>
                  <a:cxn ang="0">
                    <a:pos x="429" y="2400"/>
                  </a:cxn>
                  <a:cxn ang="0">
                    <a:pos x="428" y="1079"/>
                  </a:cxn>
                  <a:cxn ang="0">
                    <a:pos x="0" y="726"/>
                  </a:cxn>
                  <a:cxn ang="0">
                    <a:pos x="428" y="207"/>
                  </a:cxn>
                  <a:cxn ang="0">
                    <a:pos x="939" y="726"/>
                  </a:cxn>
                  <a:cxn ang="0">
                    <a:pos x="1587" y="1079"/>
                  </a:cxn>
                </a:cxnLst>
                <a:rect l="0" t="0" r="r" b="b"/>
                <a:pathLst>
                  <a:path w="1587" h="2959">
                    <a:moveTo>
                      <a:pt x="939" y="1079"/>
                    </a:moveTo>
                    <a:lnTo>
                      <a:pt x="939" y="2110"/>
                    </a:lnTo>
                    <a:lnTo>
                      <a:pt x="940" y="2158"/>
                    </a:lnTo>
                    <a:lnTo>
                      <a:pt x="941" y="2205"/>
                    </a:lnTo>
                    <a:lnTo>
                      <a:pt x="944" y="2252"/>
                    </a:lnTo>
                    <a:lnTo>
                      <a:pt x="948" y="2296"/>
                    </a:lnTo>
                    <a:lnTo>
                      <a:pt x="951" y="2317"/>
                    </a:lnTo>
                    <a:lnTo>
                      <a:pt x="956" y="2339"/>
                    </a:lnTo>
                    <a:lnTo>
                      <a:pt x="960" y="2358"/>
                    </a:lnTo>
                    <a:lnTo>
                      <a:pt x="964" y="2378"/>
                    </a:lnTo>
                    <a:lnTo>
                      <a:pt x="970" y="2398"/>
                    </a:lnTo>
                    <a:lnTo>
                      <a:pt x="977" y="2417"/>
                    </a:lnTo>
                    <a:lnTo>
                      <a:pt x="984" y="2435"/>
                    </a:lnTo>
                    <a:lnTo>
                      <a:pt x="992" y="2452"/>
                    </a:lnTo>
                    <a:lnTo>
                      <a:pt x="1002" y="2469"/>
                    </a:lnTo>
                    <a:lnTo>
                      <a:pt x="1012" y="2484"/>
                    </a:lnTo>
                    <a:lnTo>
                      <a:pt x="1023" y="2500"/>
                    </a:lnTo>
                    <a:lnTo>
                      <a:pt x="1036" y="2514"/>
                    </a:lnTo>
                    <a:lnTo>
                      <a:pt x="1049" y="2527"/>
                    </a:lnTo>
                    <a:lnTo>
                      <a:pt x="1063" y="2539"/>
                    </a:lnTo>
                    <a:lnTo>
                      <a:pt x="1079" y="2550"/>
                    </a:lnTo>
                    <a:lnTo>
                      <a:pt x="1097" y="2561"/>
                    </a:lnTo>
                    <a:lnTo>
                      <a:pt x="1114" y="2570"/>
                    </a:lnTo>
                    <a:lnTo>
                      <a:pt x="1134" y="2578"/>
                    </a:lnTo>
                    <a:lnTo>
                      <a:pt x="1155" y="2585"/>
                    </a:lnTo>
                    <a:lnTo>
                      <a:pt x="1179" y="2591"/>
                    </a:lnTo>
                    <a:lnTo>
                      <a:pt x="1203" y="2595"/>
                    </a:lnTo>
                    <a:lnTo>
                      <a:pt x="1228" y="2598"/>
                    </a:lnTo>
                    <a:lnTo>
                      <a:pt x="1255" y="2601"/>
                    </a:lnTo>
                    <a:lnTo>
                      <a:pt x="1285" y="2602"/>
                    </a:lnTo>
                    <a:lnTo>
                      <a:pt x="1313" y="2601"/>
                    </a:lnTo>
                    <a:lnTo>
                      <a:pt x="1343" y="2598"/>
                    </a:lnTo>
                    <a:lnTo>
                      <a:pt x="1372" y="2594"/>
                    </a:lnTo>
                    <a:lnTo>
                      <a:pt x="1401" y="2590"/>
                    </a:lnTo>
                    <a:lnTo>
                      <a:pt x="1431" y="2584"/>
                    </a:lnTo>
                    <a:lnTo>
                      <a:pt x="1460" y="2578"/>
                    </a:lnTo>
                    <a:lnTo>
                      <a:pt x="1490" y="2571"/>
                    </a:lnTo>
                    <a:lnTo>
                      <a:pt x="1519" y="2565"/>
                    </a:lnTo>
                    <a:lnTo>
                      <a:pt x="1519" y="2922"/>
                    </a:lnTo>
                    <a:lnTo>
                      <a:pt x="1467" y="2931"/>
                    </a:lnTo>
                    <a:lnTo>
                      <a:pt x="1414" y="2938"/>
                    </a:lnTo>
                    <a:lnTo>
                      <a:pt x="1361" y="2944"/>
                    </a:lnTo>
                    <a:lnTo>
                      <a:pt x="1309" y="2950"/>
                    </a:lnTo>
                    <a:lnTo>
                      <a:pt x="1256" y="2954"/>
                    </a:lnTo>
                    <a:lnTo>
                      <a:pt x="1205" y="2957"/>
                    </a:lnTo>
                    <a:lnTo>
                      <a:pt x="1152" y="2958"/>
                    </a:lnTo>
                    <a:lnTo>
                      <a:pt x="1101" y="2959"/>
                    </a:lnTo>
                    <a:lnTo>
                      <a:pt x="1059" y="2959"/>
                    </a:lnTo>
                    <a:lnTo>
                      <a:pt x="1019" y="2957"/>
                    </a:lnTo>
                    <a:lnTo>
                      <a:pt x="981" y="2955"/>
                    </a:lnTo>
                    <a:lnTo>
                      <a:pt x="943" y="2952"/>
                    </a:lnTo>
                    <a:lnTo>
                      <a:pt x="907" y="2947"/>
                    </a:lnTo>
                    <a:lnTo>
                      <a:pt x="873" y="2942"/>
                    </a:lnTo>
                    <a:lnTo>
                      <a:pt x="839" y="2936"/>
                    </a:lnTo>
                    <a:lnTo>
                      <a:pt x="806" y="2929"/>
                    </a:lnTo>
                    <a:lnTo>
                      <a:pt x="776" y="2920"/>
                    </a:lnTo>
                    <a:lnTo>
                      <a:pt x="746" y="2911"/>
                    </a:lnTo>
                    <a:lnTo>
                      <a:pt x="718" y="2900"/>
                    </a:lnTo>
                    <a:lnTo>
                      <a:pt x="692" y="2889"/>
                    </a:lnTo>
                    <a:lnTo>
                      <a:pt x="666" y="2875"/>
                    </a:lnTo>
                    <a:lnTo>
                      <a:pt x="641" y="2862"/>
                    </a:lnTo>
                    <a:lnTo>
                      <a:pt x="618" y="2846"/>
                    </a:lnTo>
                    <a:lnTo>
                      <a:pt x="597" y="2829"/>
                    </a:lnTo>
                    <a:lnTo>
                      <a:pt x="576" y="2810"/>
                    </a:lnTo>
                    <a:lnTo>
                      <a:pt x="557" y="2791"/>
                    </a:lnTo>
                    <a:lnTo>
                      <a:pt x="539" y="2770"/>
                    </a:lnTo>
                    <a:lnTo>
                      <a:pt x="524" y="2748"/>
                    </a:lnTo>
                    <a:lnTo>
                      <a:pt x="508" y="2724"/>
                    </a:lnTo>
                    <a:lnTo>
                      <a:pt x="494" y="2699"/>
                    </a:lnTo>
                    <a:lnTo>
                      <a:pt x="482" y="2672"/>
                    </a:lnTo>
                    <a:lnTo>
                      <a:pt x="470" y="2644"/>
                    </a:lnTo>
                    <a:lnTo>
                      <a:pt x="461" y="2614"/>
                    </a:lnTo>
                    <a:lnTo>
                      <a:pt x="452" y="2583"/>
                    </a:lnTo>
                    <a:lnTo>
                      <a:pt x="445" y="2549"/>
                    </a:lnTo>
                    <a:lnTo>
                      <a:pt x="438" y="2515"/>
                    </a:lnTo>
                    <a:lnTo>
                      <a:pt x="434" y="2478"/>
                    </a:lnTo>
                    <a:lnTo>
                      <a:pt x="431" y="2440"/>
                    </a:lnTo>
                    <a:lnTo>
                      <a:pt x="429" y="2400"/>
                    </a:lnTo>
                    <a:lnTo>
                      <a:pt x="428" y="2358"/>
                    </a:lnTo>
                    <a:lnTo>
                      <a:pt x="428" y="1079"/>
                    </a:lnTo>
                    <a:lnTo>
                      <a:pt x="0" y="1079"/>
                    </a:lnTo>
                    <a:lnTo>
                      <a:pt x="0" y="726"/>
                    </a:lnTo>
                    <a:lnTo>
                      <a:pt x="428" y="726"/>
                    </a:lnTo>
                    <a:lnTo>
                      <a:pt x="428" y="207"/>
                    </a:lnTo>
                    <a:lnTo>
                      <a:pt x="939" y="0"/>
                    </a:lnTo>
                    <a:lnTo>
                      <a:pt x="939" y="726"/>
                    </a:lnTo>
                    <a:lnTo>
                      <a:pt x="1587" y="726"/>
                    </a:lnTo>
                    <a:lnTo>
                      <a:pt x="1587" y="1079"/>
                    </a:lnTo>
                    <a:lnTo>
                      <a:pt x="939" y="1079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2" name="Freeform 11"/>
              <p:cNvSpPr>
                <a:spLocks/>
              </p:cNvSpPr>
              <p:nvPr userDrawn="1"/>
            </p:nvSpPr>
            <p:spPr bwMode="auto">
              <a:xfrm>
                <a:off x="2609850" y="2563813"/>
                <a:ext cx="255587" cy="322263"/>
              </a:xfrm>
              <a:custGeom>
                <a:avLst/>
                <a:gdLst/>
                <a:ahLst/>
                <a:cxnLst>
                  <a:cxn ang="0">
                    <a:pos x="1243" y="1774"/>
                  </a:cxn>
                  <a:cxn ang="0">
                    <a:pos x="1208" y="1849"/>
                  </a:cxn>
                  <a:cxn ang="0">
                    <a:pos x="1167" y="1919"/>
                  </a:cxn>
                  <a:cxn ang="0">
                    <a:pos x="1120" y="1983"/>
                  </a:cxn>
                  <a:cxn ang="0">
                    <a:pos x="1068" y="2040"/>
                  </a:cxn>
                  <a:cxn ang="0">
                    <a:pos x="1012" y="2092"/>
                  </a:cxn>
                  <a:cxn ang="0">
                    <a:pos x="949" y="2136"/>
                  </a:cxn>
                  <a:cxn ang="0">
                    <a:pos x="881" y="2172"/>
                  </a:cxn>
                  <a:cxn ang="0">
                    <a:pos x="810" y="2201"/>
                  </a:cxn>
                  <a:cxn ang="0">
                    <a:pos x="733" y="2220"/>
                  </a:cxn>
                  <a:cxn ang="0">
                    <a:pos x="651" y="2231"/>
                  </a:cxn>
                  <a:cxn ang="0">
                    <a:pos x="555" y="2232"/>
                  </a:cxn>
                  <a:cxn ang="0">
                    <a:pos x="448" y="2217"/>
                  </a:cxn>
                  <a:cxn ang="0">
                    <a:pos x="354" y="2187"/>
                  </a:cxn>
                  <a:cxn ang="0">
                    <a:pos x="271" y="2142"/>
                  </a:cxn>
                  <a:cxn ang="0">
                    <a:pos x="200" y="2084"/>
                  </a:cxn>
                  <a:cxn ang="0">
                    <a:pos x="140" y="2014"/>
                  </a:cxn>
                  <a:cxn ang="0">
                    <a:pos x="92" y="1934"/>
                  </a:cxn>
                  <a:cxn ang="0">
                    <a:pos x="54" y="1846"/>
                  </a:cxn>
                  <a:cxn ang="0">
                    <a:pos x="27" y="1752"/>
                  </a:cxn>
                  <a:cxn ang="0">
                    <a:pos x="9" y="1651"/>
                  </a:cxn>
                  <a:cxn ang="0">
                    <a:pos x="1" y="1548"/>
                  </a:cxn>
                  <a:cxn ang="0">
                    <a:pos x="511" y="0"/>
                  </a:cxn>
                  <a:cxn ang="0">
                    <a:pos x="511" y="1353"/>
                  </a:cxn>
                  <a:cxn ang="0">
                    <a:pos x="516" y="1454"/>
                  </a:cxn>
                  <a:cxn ang="0">
                    <a:pos x="526" y="1558"/>
                  </a:cxn>
                  <a:cxn ang="0">
                    <a:pos x="545" y="1637"/>
                  </a:cxn>
                  <a:cxn ang="0">
                    <a:pos x="561" y="1675"/>
                  </a:cxn>
                  <a:cxn ang="0">
                    <a:pos x="582" y="1707"/>
                  </a:cxn>
                  <a:cxn ang="0">
                    <a:pos x="605" y="1727"/>
                  </a:cxn>
                  <a:cxn ang="0">
                    <a:pos x="630" y="1740"/>
                  </a:cxn>
                  <a:cxn ang="0">
                    <a:pos x="658" y="1749"/>
                  </a:cxn>
                  <a:cxn ang="0">
                    <a:pos x="717" y="1755"/>
                  </a:cxn>
                  <a:cxn ang="0">
                    <a:pos x="804" y="1750"/>
                  </a:cxn>
                  <a:cxn ang="0">
                    <a:pos x="894" y="1720"/>
                  </a:cxn>
                  <a:cxn ang="0">
                    <a:pos x="973" y="1670"/>
                  </a:cxn>
                  <a:cxn ang="0">
                    <a:pos x="1041" y="1602"/>
                  </a:cxn>
                  <a:cxn ang="0">
                    <a:pos x="1099" y="1520"/>
                  </a:cxn>
                  <a:cxn ang="0">
                    <a:pos x="1147" y="1428"/>
                  </a:cxn>
                  <a:cxn ang="0">
                    <a:pos x="1186" y="1330"/>
                  </a:cxn>
                  <a:cxn ang="0">
                    <a:pos x="1216" y="1229"/>
                  </a:cxn>
                  <a:cxn ang="0">
                    <a:pos x="1236" y="1128"/>
                  </a:cxn>
                  <a:cxn ang="0">
                    <a:pos x="1248" y="1032"/>
                  </a:cxn>
                  <a:cxn ang="0">
                    <a:pos x="1252" y="944"/>
                  </a:cxn>
                  <a:cxn ang="0">
                    <a:pos x="1762" y="2183"/>
                  </a:cxn>
                </a:cxnLst>
                <a:rect l="0" t="0" r="r" b="b"/>
                <a:pathLst>
                  <a:path w="1762" h="2233">
                    <a:moveTo>
                      <a:pt x="1252" y="2183"/>
                    </a:moveTo>
                    <a:lnTo>
                      <a:pt x="1252" y="1774"/>
                    </a:lnTo>
                    <a:lnTo>
                      <a:pt x="1243" y="1774"/>
                    </a:lnTo>
                    <a:lnTo>
                      <a:pt x="1232" y="1800"/>
                    </a:lnTo>
                    <a:lnTo>
                      <a:pt x="1220" y="1825"/>
                    </a:lnTo>
                    <a:lnTo>
                      <a:pt x="1208" y="1849"/>
                    </a:lnTo>
                    <a:lnTo>
                      <a:pt x="1195" y="1874"/>
                    </a:lnTo>
                    <a:lnTo>
                      <a:pt x="1181" y="1897"/>
                    </a:lnTo>
                    <a:lnTo>
                      <a:pt x="1167" y="1919"/>
                    </a:lnTo>
                    <a:lnTo>
                      <a:pt x="1151" y="1941"/>
                    </a:lnTo>
                    <a:lnTo>
                      <a:pt x="1137" y="1963"/>
                    </a:lnTo>
                    <a:lnTo>
                      <a:pt x="1120" y="1983"/>
                    </a:lnTo>
                    <a:lnTo>
                      <a:pt x="1103" y="2002"/>
                    </a:lnTo>
                    <a:lnTo>
                      <a:pt x="1086" y="2022"/>
                    </a:lnTo>
                    <a:lnTo>
                      <a:pt x="1068" y="2040"/>
                    </a:lnTo>
                    <a:lnTo>
                      <a:pt x="1050" y="2058"/>
                    </a:lnTo>
                    <a:lnTo>
                      <a:pt x="1031" y="2075"/>
                    </a:lnTo>
                    <a:lnTo>
                      <a:pt x="1012" y="2092"/>
                    </a:lnTo>
                    <a:lnTo>
                      <a:pt x="991" y="2107"/>
                    </a:lnTo>
                    <a:lnTo>
                      <a:pt x="971" y="2122"/>
                    </a:lnTo>
                    <a:lnTo>
                      <a:pt x="949" y="2136"/>
                    </a:lnTo>
                    <a:lnTo>
                      <a:pt x="928" y="2148"/>
                    </a:lnTo>
                    <a:lnTo>
                      <a:pt x="904" y="2161"/>
                    </a:lnTo>
                    <a:lnTo>
                      <a:pt x="881" y="2172"/>
                    </a:lnTo>
                    <a:lnTo>
                      <a:pt x="858" y="2182"/>
                    </a:lnTo>
                    <a:lnTo>
                      <a:pt x="834" y="2191"/>
                    </a:lnTo>
                    <a:lnTo>
                      <a:pt x="810" y="2201"/>
                    </a:lnTo>
                    <a:lnTo>
                      <a:pt x="785" y="2208"/>
                    </a:lnTo>
                    <a:lnTo>
                      <a:pt x="758" y="2214"/>
                    </a:lnTo>
                    <a:lnTo>
                      <a:pt x="733" y="2220"/>
                    </a:lnTo>
                    <a:lnTo>
                      <a:pt x="706" y="2225"/>
                    </a:lnTo>
                    <a:lnTo>
                      <a:pt x="678" y="2229"/>
                    </a:lnTo>
                    <a:lnTo>
                      <a:pt x="651" y="2231"/>
                    </a:lnTo>
                    <a:lnTo>
                      <a:pt x="623" y="2233"/>
                    </a:lnTo>
                    <a:lnTo>
                      <a:pt x="594" y="2233"/>
                    </a:lnTo>
                    <a:lnTo>
                      <a:pt x="555" y="2232"/>
                    </a:lnTo>
                    <a:lnTo>
                      <a:pt x="519" y="2229"/>
                    </a:lnTo>
                    <a:lnTo>
                      <a:pt x="483" y="2225"/>
                    </a:lnTo>
                    <a:lnTo>
                      <a:pt x="448" y="2217"/>
                    </a:lnTo>
                    <a:lnTo>
                      <a:pt x="416" y="2209"/>
                    </a:lnTo>
                    <a:lnTo>
                      <a:pt x="384" y="2198"/>
                    </a:lnTo>
                    <a:lnTo>
                      <a:pt x="354" y="2187"/>
                    </a:lnTo>
                    <a:lnTo>
                      <a:pt x="325" y="2173"/>
                    </a:lnTo>
                    <a:lnTo>
                      <a:pt x="297" y="2159"/>
                    </a:lnTo>
                    <a:lnTo>
                      <a:pt x="271" y="2142"/>
                    </a:lnTo>
                    <a:lnTo>
                      <a:pt x="246" y="2124"/>
                    </a:lnTo>
                    <a:lnTo>
                      <a:pt x="222" y="2104"/>
                    </a:lnTo>
                    <a:lnTo>
                      <a:pt x="200" y="2084"/>
                    </a:lnTo>
                    <a:lnTo>
                      <a:pt x="179" y="2062"/>
                    </a:lnTo>
                    <a:lnTo>
                      <a:pt x="159" y="2038"/>
                    </a:lnTo>
                    <a:lnTo>
                      <a:pt x="140" y="2014"/>
                    </a:lnTo>
                    <a:lnTo>
                      <a:pt x="123" y="1989"/>
                    </a:lnTo>
                    <a:lnTo>
                      <a:pt x="107" y="1962"/>
                    </a:lnTo>
                    <a:lnTo>
                      <a:pt x="92" y="1934"/>
                    </a:lnTo>
                    <a:lnTo>
                      <a:pt x="78" y="1906"/>
                    </a:lnTo>
                    <a:lnTo>
                      <a:pt x="66" y="1877"/>
                    </a:lnTo>
                    <a:lnTo>
                      <a:pt x="54" y="1846"/>
                    </a:lnTo>
                    <a:lnTo>
                      <a:pt x="44" y="1816"/>
                    </a:lnTo>
                    <a:lnTo>
                      <a:pt x="35" y="1784"/>
                    </a:lnTo>
                    <a:lnTo>
                      <a:pt x="27" y="1752"/>
                    </a:lnTo>
                    <a:lnTo>
                      <a:pt x="19" y="1719"/>
                    </a:lnTo>
                    <a:lnTo>
                      <a:pt x="14" y="1686"/>
                    </a:lnTo>
                    <a:lnTo>
                      <a:pt x="9" y="1651"/>
                    </a:lnTo>
                    <a:lnTo>
                      <a:pt x="6" y="1618"/>
                    </a:lnTo>
                    <a:lnTo>
                      <a:pt x="3" y="1583"/>
                    </a:lnTo>
                    <a:lnTo>
                      <a:pt x="1" y="1548"/>
                    </a:lnTo>
                    <a:lnTo>
                      <a:pt x="0" y="1513"/>
                    </a:lnTo>
                    <a:lnTo>
                      <a:pt x="0" y="0"/>
                    </a:lnTo>
                    <a:lnTo>
                      <a:pt x="511" y="0"/>
                    </a:lnTo>
                    <a:lnTo>
                      <a:pt x="511" y="1247"/>
                    </a:lnTo>
                    <a:lnTo>
                      <a:pt x="511" y="1294"/>
                    </a:lnTo>
                    <a:lnTo>
                      <a:pt x="511" y="1353"/>
                    </a:lnTo>
                    <a:lnTo>
                      <a:pt x="512" y="1385"/>
                    </a:lnTo>
                    <a:lnTo>
                      <a:pt x="513" y="1420"/>
                    </a:lnTo>
                    <a:lnTo>
                      <a:pt x="516" y="1454"/>
                    </a:lnTo>
                    <a:lnTo>
                      <a:pt x="518" y="1489"/>
                    </a:lnTo>
                    <a:lnTo>
                      <a:pt x="522" y="1525"/>
                    </a:lnTo>
                    <a:lnTo>
                      <a:pt x="526" y="1558"/>
                    </a:lnTo>
                    <a:lnTo>
                      <a:pt x="532" y="1591"/>
                    </a:lnTo>
                    <a:lnTo>
                      <a:pt x="541" y="1622"/>
                    </a:lnTo>
                    <a:lnTo>
                      <a:pt x="545" y="1637"/>
                    </a:lnTo>
                    <a:lnTo>
                      <a:pt x="550" y="1650"/>
                    </a:lnTo>
                    <a:lnTo>
                      <a:pt x="555" y="1663"/>
                    </a:lnTo>
                    <a:lnTo>
                      <a:pt x="561" y="1675"/>
                    </a:lnTo>
                    <a:lnTo>
                      <a:pt x="567" y="1687"/>
                    </a:lnTo>
                    <a:lnTo>
                      <a:pt x="574" y="1697"/>
                    </a:lnTo>
                    <a:lnTo>
                      <a:pt x="582" y="1707"/>
                    </a:lnTo>
                    <a:lnTo>
                      <a:pt x="589" y="1714"/>
                    </a:lnTo>
                    <a:lnTo>
                      <a:pt x="596" y="1722"/>
                    </a:lnTo>
                    <a:lnTo>
                      <a:pt x="605" y="1727"/>
                    </a:lnTo>
                    <a:lnTo>
                      <a:pt x="612" y="1732"/>
                    </a:lnTo>
                    <a:lnTo>
                      <a:pt x="621" y="1736"/>
                    </a:lnTo>
                    <a:lnTo>
                      <a:pt x="630" y="1740"/>
                    </a:lnTo>
                    <a:lnTo>
                      <a:pt x="640" y="1744"/>
                    </a:lnTo>
                    <a:lnTo>
                      <a:pt x="649" y="1747"/>
                    </a:lnTo>
                    <a:lnTo>
                      <a:pt x="658" y="1749"/>
                    </a:lnTo>
                    <a:lnTo>
                      <a:pt x="677" y="1752"/>
                    </a:lnTo>
                    <a:lnTo>
                      <a:pt x="697" y="1754"/>
                    </a:lnTo>
                    <a:lnTo>
                      <a:pt x="717" y="1755"/>
                    </a:lnTo>
                    <a:lnTo>
                      <a:pt x="737" y="1756"/>
                    </a:lnTo>
                    <a:lnTo>
                      <a:pt x="771" y="1754"/>
                    </a:lnTo>
                    <a:lnTo>
                      <a:pt x="804" y="1750"/>
                    </a:lnTo>
                    <a:lnTo>
                      <a:pt x="835" y="1743"/>
                    </a:lnTo>
                    <a:lnTo>
                      <a:pt x="865" y="1733"/>
                    </a:lnTo>
                    <a:lnTo>
                      <a:pt x="894" y="1720"/>
                    </a:lnTo>
                    <a:lnTo>
                      <a:pt x="921" y="1706"/>
                    </a:lnTo>
                    <a:lnTo>
                      <a:pt x="948" y="1689"/>
                    </a:lnTo>
                    <a:lnTo>
                      <a:pt x="973" y="1670"/>
                    </a:lnTo>
                    <a:lnTo>
                      <a:pt x="997" y="1649"/>
                    </a:lnTo>
                    <a:lnTo>
                      <a:pt x="1019" y="1627"/>
                    </a:lnTo>
                    <a:lnTo>
                      <a:pt x="1041" y="1602"/>
                    </a:lnTo>
                    <a:lnTo>
                      <a:pt x="1061" y="1577"/>
                    </a:lnTo>
                    <a:lnTo>
                      <a:pt x="1081" y="1550"/>
                    </a:lnTo>
                    <a:lnTo>
                      <a:pt x="1099" y="1520"/>
                    </a:lnTo>
                    <a:lnTo>
                      <a:pt x="1117" y="1491"/>
                    </a:lnTo>
                    <a:lnTo>
                      <a:pt x="1133" y="1461"/>
                    </a:lnTo>
                    <a:lnTo>
                      <a:pt x="1147" y="1428"/>
                    </a:lnTo>
                    <a:lnTo>
                      <a:pt x="1161" y="1397"/>
                    </a:lnTo>
                    <a:lnTo>
                      <a:pt x="1175" y="1363"/>
                    </a:lnTo>
                    <a:lnTo>
                      <a:pt x="1186" y="1330"/>
                    </a:lnTo>
                    <a:lnTo>
                      <a:pt x="1197" y="1296"/>
                    </a:lnTo>
                    <a:lnTo>
                      <a:pt x="1207" y="1262"/>
                    </a:lnTo>
                    <a:lnTo>
                      <a:pt x="1216" y="1229"/>
                    </a:lnTo>
                    <a:lnTo>
                      <a:pt x="1223" y="1195"/>
                    </a:lnTo>
                    <a:lnTo>
                      <a:pt x="1230" y="1162"/>
                    </a:lnTo>
                    <a:lnTo>
                      <a:pt x="1236" y="1128"/>
                    </a:lnTo>
                    <a:lnTo>
                      <a:pt x="1241" y="1096"/>
                    </a:lnTo>
                    <a:lnTo>
                      <a:pt x="1245" y="1063"/>
                    </a:lnTo>
                    <a:lnTo>
                      <a:pt x="1248" y="1032"/>
                    </a:lnTo>
                    <a:lnTo>
                      <a:pt x="1250" y="1002"/>
                    </a:lnTo>
                    <a:lnTo>
                      <a:pt x="1251" y="972"/>
                    </a:lnTo>
                    <a:lnTo>
                      <a:pt x="1252" y="944"/>
                    </a:lnTo>
                    <a:lnTo>
                      <a:pt x="1252" y="0"/>
                    </a:lnTo>
                    <a:lnTo>
                      <a:pt x="1762" y="0"/>
                    </a:lnTo>
                    <a:lnTo>
                      <a:pt x="1762" y="2183"/>
                    </a:lnTo>
                    <a:lnTo>
                      <a:pt x="1252" y="2183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3" name="Freeform 12"/>
              <p:cNvSpPr>
                <a:spLocks/>
              </p:cNvSpPr>
              <p:nvPr userDrawn="1"/>
            </p:nvSpPr>
            <p:spPr bwMode="auto">
              <a:xfrm>
                <a:off x="2911475" y="2555875"/>
                <a:ext cx="177800" cy="322263"/>
              </a:xfrm>
              <a:custGeom>
                <a:avLst/>
                <a:gdLst/>
                <a:ahLst/>
                <a:cxnLst>
                  <a:cxn ang="0">
                    <a:pos x="511" y="2235"/>
                  </a:cxn>
                  <a:cxn ang="0">
                    <a:pos x="0" y="52"/>
                  </a:cxn>
                  <a:cxn ang="0">
                    <a:pos x="511" y="455"/>
                  </a:cxn>
                  <a:cxn ang="0">
                    <a:pos x="536" y="427"/>
                  </a:cxn>
                  <a:cxn ang="0">
                    <a:pos x="568" y="373"/>
                  </a:cxn>
                  <a:cxn ang="0">
                    <a:pos x="600" y="324"/>
                  </a:cxn>
                  <a:cxn ang="0">
                    <a:pos x="634" y="278"/>
                  </a:cxn>
                  <a:cxn ang="0">
                    <a:pos x="667" y="235"/>
                  </a:cxn>
                  <a:cxn ang="0">
                    <a:pos x="703" y="196"/>
                  </a:cxn>
                  <a:cxn ang="0">
                    <a:pos x="740" y="161"/>
                  </a:cxn>
                  <a:cxn ang="0">
                    <a:pos x="779" y="129"/>
                  </a:cxn>
                  <a:cxn ang="0">
                    <a:pos x="821" y="101"/>
                  </a:cxn>
                  <a:cxn ang="0">
                    <a:pos x="864" y="76"/>
                  </a:cxn>
                  <a:cxn ang="0">
                    <a:pos x="910" y="55"/>
                  </a:cxn>
                  <a:cxn ang="0">
                    <a:pos x="960" y="37"/>
                  </a:cxn>
                  <a:cxn ang="0">
                    <a:pos x="1013" y="22"/>
                  </a:cxn>
                  <a:cxn ang="0">
                    <a:pos x="1069" y="12"/>
                  </a:cxn>
                  <a:cxn ang="0">
                    <a:pos x="1130" y="4"/>
                  </a:cxn>
                  <a:cxn ang="0">
                    <a:pos x="1194" y="1"/>
                  </a:cxn>
                  <a:cxn ang="0">
                    <a:pos x="1228" y="533"/>
                  </a:cxn>
                  <a:cxn ang="0">
                    <a:pos x="1134" y="536"/>
                  </a:cxn>
                  <a:cxn ang="0">
                    <a:pos x="1047" y="543"/>
                  </a:cxn>
                  <a:cxn ang="0">
                    <a:pos x="967" y="558"/>
                  </a:cxn>
                  <a:cxn ang="0">
                    <a:pos x="895" y="577"/>
                  </a:cxn>
                  <a:cxn ang="0">
                    <a:pos x="829" y="602"/>
                  </a:cxn>
                  <a:cxn ang="0">
                    <a:pos x="770" y="632"/>
                  </a:cxn>
                  <a:cxn ang="0">
                    <a:pos x="719" y="669"/>
                  </a:cxn>
                  <a:cxn ang="0">
                    <a:pos x="673" y="712"/>
                  </a:cxn>
                  <a:cxn ang="0">
                    <a:pos x="633" y="760"/>
                  </a:cxn>
                  <a:cxn ang="0">
                    <a:pos x="599" y="815"/>
                  </a:cxn>
                  <a:cxn ang="0">
                    <a:pos x="572" y="875"/>
                  </a:cxn>
                  <a:cxn ang="0">
                    <a:pos x="549" y="943"/>
                  </a:cxn>
                  <a:cxn ang="0">
                    <a:pos x="532" y="1017"/>
                  </a:cxn>
                  <a:cxn ang="0">
                    <a:pos x="520" y="1096"/>
                  </a:cxn>
                  <a:cxn ang="0">
                    <a:pos x="513" y="1182"/>
                  </a:cxn>
                  <a:cxn ang="0">
                    <a:pos x="511" y="1276"/>
                  </a:cxn>
                </a:cxnLst>
                <a:rect l="0" t="0" r="r" b="b"/>
                <a:pathLst>
                  <a:path w="1228" h="2235">
                    <a:moveTo>
                      <a:pt x="511" y="1276"/>
                    </a:moveTo>
                    <a:lnTo>
                      <a:pt x="511" y="2235"/>
                    </a:lnTo>
                    <a:lnTo>
                      <a:pt x="0" y="2235"/>
                    </a:lnTo>
                    <a:lnTo>
                      <a:pt x="0" y="52"/>
                    </a:lnTo>
                    <a:lnTo>
                      <a:pt x="511" y="52"/>
                    </a:lnTo>
                    <a:lnTo>
                      <a:pt x="511" y="455"/>
                    </a:lnTo>
                    <a:lnTo>
                      <a:pt x="519" y="455"/>
                    </a:lnTo>
                    <a:lnTo>
                      <a:pt x="536" y="427"/>
                    </a:lnTo>
                    <a:lnTo>
                      <a:pt x="552" y="400"/>
                    </a:lnTo>
                    <a:lnTo>
                      <a:pt x="568" y="373"/>
                    </a:lnTo>
                    <a:lnTo>
                      <a:pt x="583" y="348"/>
                    </a:lnTo>
                    <a:lnTo>
                      <a:pt x="600" y="324"/>
                    </a:lnTo>
                    <a:lnTo>
                      <a:pt x="617" y="301"/>
                    </a:lnTo>
                    <a:lnTo>
                      <a:pt x="634" y="278"/>
                    </a:lnTo>
                    <a:lnTo>
                      <a:pt x="651" y="256"/>
                    </a:lnTo>
                    <a:lnTo>
                      <a:pt x="667" y="235"/>
                    </a:lnTo>
                    <a:lnTo>
                      <a:pt x="685" y="215"/>
                    </a:lnTo>
                    <a:lnTo>
                      <a:pt x="703" y="196"/>
                    </a:lnTo>
                    <a:lnTo>
                      <a:pt x="721" y="178"/>
                    </a:lnTo>
                    <a:lnTo>
                      <a:pt x="740" y="161"/>
                    </a:lnTo>
                    <a:lnTo>
                      <a:pt x="760" y="145"/>
                    </a:lnTo>
                    <a:lnTo>
                      <a:pt x="779" y="129"/>
                    </a:lnTo>
                    <a:lnTo>
                      <a:pt x="800" y="114"/>
                    </a:lnTo>
                    <a:lnTo>
                      <a:pt x="821" y="101"/>
                    </a:lnTo>
                    <a:lnTo>
                      <a:pt x="842" y="87"/>
                    </a:lnTo>
                    <a:lnTo>
                      <a:pt x="864" y="76"/>
                    </a:lnTo>
                    <a:lnTo>
                      <a:pt x="887" y="64"/>
                    </a:lnTo>
                    <a:lnTo>
                      <a:pt x="910" y="55"/>
                    </a:lnTo>
                    <a:lnTo>
                      <a:pt x="936" y="45"/>
                    </a:lnTo>
                    <a:lnTo>
                      <a:pt x="960" y="37"/>
                    </a:lnTo>
                    <a:lnTo>
                      <a:pt x="986" y="28"/>
                    </a:lnTo>
                    <a:lnTo>
                      <a:pt x="1013" y="22"/>
                    </a:lnTo>
                    <a:lnTo>
                      <a:pt x="1041" y="17"/>
                    </a:lnTo>
                    <a:lnTo>
                      <a:pt x="1069" y="12"/>
                    </a:lnTo>
                    <a:lnTo>
                      <a:pt x="1099" y="8"/>
                    </a:lnTo>
                    <a:lnTo>
                      <a:pt x="1130" y="4"/>
                    </a:lnTo>
                    <a:lnTo>
                      <a:pt x="1162" y="2"/>
                    </a:lnTo>
                    <a:lnTo>
                      <a:pt x="1194" y="1"/>
                    </a:lnTo>
                    <a:lnTo>
                      <a:pt x="1228" y="0"/>
                    </a:lnTo>
                    <a:lnTo>
                      <a:pt x="1228" y="533"/>
                    </a:lnTo>
                    <a:lnTo>
                      <a:pt x="1180" y="534"/>
                    </a:lnTo>
                    <a:lnTo>
                      <a:pt x="1134" y="536"/>
                    </a:lnTo>
                    <a:lnTo>
                      <a:pt x="1089" y="539"/>
                    </a:lnTo>
                    <a:lnTo>
                      <a:pt x="1047" y="543"/>
                    </a:lnTo>
                    <a:lnTo>
                      <a:pt x="1006" y="549"/>
                    </a:lnTo>
                    <a:lnTo>
                      <a:pt x="967" y="558"/>
                    </a:lnTo>
                    <a:lnTo>
                      <a:pt x="930" y="566"/>
                    </a:lnTo>
                    <a:lnTo>
                      <a:pt x="895" y="577"/>
                    </a:lnTo>
                    <a:lnTo>
                      <a:pt x="861" y="588"/>
                    </a:lnTo>
                    <a:lnTo>
                      <a:pt x="829" y="602"/>
                    </a:lnTo>
                    <a:lnTo>
                      <a:pt x="799" y="616"/>
                    </a:lnTo>
                    <a:lnTo>
                      <a:pt x="770" y="632"/>
                    </a:lnTo>
                    <a:lnTo>
                      <a:pt x="744" y="650"/>
                    </a:lnTo>
                    <a:lnTo>
                      <a:pt x="719" y="669"/>
                    </a:lnTo>
                    <a:lnTo>
                      <a:pt x="695" y="690"/>
                    </a:lnTo>
                    <a:lnTo>
                      <a:pt x="673" y="712"/>
                    </a:lnTo>
                    <a:lnTo>
                      <a:pt x="652" y="735"/>
                    </a:lnTo>
                    <a:lnTo>
                      <a:pt x="633" y="760"/>
                    </a:lnTo>
                    <a:lnTo>
                      <a:pt x="616" y="787"/>
                    </a:lnTo>
                    <a:lnTo>
                      <a:pt x="599" y="815"/>
                    </a:lnTo>
                    <a:lnTo>
                      <a:pt x="584" y="845"/>
                    </a:lnTo>
                    <a:lnTo>
                      <a:pt x="572" y="875"/>
                    </a:lnTo>
                    <a:lnTo>
                      <a:pt x="559" y="909"/>
                    </a:lnTo>
                    <a:lnTo>
                      <a:pt x="549" y="943"/>
                    </a:lnTo>
                    <a:lnTo>
                      <a:pt x="539" y="979"/>
                    </a:lnTo>
                    <a:lnTo>
                      <a:pt x="532" y="1017"/>
                    </a:lnTo>
                    <a:lnTo>
                      <a:pt x="526" y="1056"/>
                    </a:lnTo>
                    <a:lnTo>
                      <a:pt x="520" y="1096"/>
                    </a:lnTo>
                    <a:lnTo>
                      <a:pt x="516" y="1138"/>
                    </a:lnTo>
                    <a:lnTo>
                      <a:pt x="513" y="1182"/>
                    </a:lnTo>
                    <a:lnTo>
                      <a:pt x="511" y="1229"/>
                    </a:lnTo>
                    <a:lnTo>
                      <a:pt x="511" y="127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4" name="Freeform 13"/>
              <p:cNvSpPr>
                <a:spLocks noEditPoints="1"/>
              </p:cNvSpPr>
              <p:nvPr userDrawn="1"/>
            </p:nvSpPr>
            <p:spPr bwMode="auto">
              <a:xfrm>
                <a:off x="3103563" y="2555875"/>
                <a:ext cx="255587" cy="330200"/>
              </a:xfrm>
              <a:custGeom>
                <a:avLst/>
                <a:gdLst/>
                <a:ahLst/>
                <a:cxnLst>
                  <a:cxn ang="0">
                    <a:pos x="1768" y="788"/>
                  </a:cxn>
                  <a:cxn ang="0">
                    <a:pos x="1742" y="607"/>
                  </a:cxn>
                  <a:cxn ang="0">
                    <a:pos x="1690" y="445"/>
                  </a:cxn>
                  <a:cxn ang="0">
                    <a:pos x="1612" y="305"/>
                  </a:cxn>
                  <a:cxn ang="0">
                    <a:pos x="1508" y="189"/>
                  </a:cxn>
                  <a:cxn ang="0">
                    <a:pos x="1378" y="99"/>
                  </a:cxn>
                  <a:cxn ang="0">
                    <a:pos x="1222" y="37"/>
                  </a:cxn>
                  <a:cxn ang="0">
                    <a:pos x="1039" y="4"/>
                  </a:cxn>
                  <a:cxn ang="0">
                    <a:pos x="821" y="5"/>
                  </a:cxn>
                  <a:cxn ang="0">
                    <a:pos x="609" y="42"/>
                  </a:cxn>
                  <a:cxn ang="0">
                    <a:pos x="432" y="114"/>
                  </a:cxn>
                  <a:cxn ang="0">
                    <a:pos x="286" y="218"/>
                  </a:cxn>
                  <a:cxn ang="0">
                    <a:pos x="171" y="353"/>
                  </a:cxn>
                  <a:cxn ang="0">
                    <a:pos x="86" y="516"/>
                  </a:cxn>
                  <a:cxn ang="0">
                    <a:pos x="30" y="703"/>
                  </a:cxn>
                  <a:cxn ang="0">
                    <a:pos x="3" y="914"/>
                  </a:cxn>
                  <a:cxn ang="0">
                    <a:pos x="4" y="1161"/>
                  </a:cxn>
                  <a:cxn ang="0">
                    <a:pos x="35" y="1412"/>
                  </a:cxn>
                  <a:cxn ang="0">
                    <a:pos x="100" y="1639"/>
                  </a:cxn>
                  <a:cxn ang="0">
                    <a:pos x="197" y="1839"/>
                  </a:cxn>
                  <a:cxn ang="0">
                    <a:pos x="332" y="2006"/>
                  </a:cxn>
                  <a:cxn ang="0">
                    <a:pos x="503" y="2138"/>
                  </a:cxn>
                  <a:cxn ang="0">
                    <a:pos x="714" y="2231"/>
                  </a:cxn>
                  <a:cxn ang="0">
                    <a:pos x="964" y="2279"/>
                  </a:cxn>
                  <a:cxn ang="0">
                    <a:pos x="1181" y="2284"/>
                  </a:cxn>
                  <a:cxn ang="0">
                    <a:pos x="1337" y="2275"/>
                  </a:cxn>
                  <a:cxn ang="0">
                    <a:pos x="1490" y="2254"/>
                  </a:cxn>
                  <a:cxn ang="0">
                    <a:pos x="1642" y="2220"/>
                  </a:cxn>
                  <a:cxn ang="0">
                    <a:pos x="1667" y="1862"/>
                  </a:cxn>
                  <a:cxn ang="0">
                    <a:pos x="1483" y="1909"/>
                  </a:cxn>
                  <a:cxn ang="0">
                    <a:pos x="1376" y="1923"/>
                  </a:cxn>
                  <a:cxn ang="0">
                    <a:pos x="1252" y="1926"/>
                  </a:cxn>
                  <a:cxn ang="0">
                    <a:pos x="1077" y="1896"/>
                  </a:cxn>
                  <a:cxn ang="0">
                    <a:pos x="922" y="1829"/>
                  </a:cxn>
                  <a:cxn ang="0">
                    <a:pos x="787" y="1733"/>
                  </a:cxn>
                  <a:cxn ang="0">
                    <a:pos x="674" y="1609"/>
                  </a:cxn>
                  <a:cxn ang="0">
                    <a:pos x="583" y="1466"/>
                  </a:cxn>
                  <a:cxn ang="0">
                    <a:pos x="519" y="1308"/>
                  </a:cxn>
                  <a:cxn ang="0">
                    <a:pos x="482" y="1139"/>
                  </a:cxn>
                  <a:cxn ang="0">
                    <a:pos x="1771" y="1009"/>
                  </a:cxn>
                  <a:cxn ang="0">
                    <a:pos x="494" y="662"/>
                  </a:cxn>
                  <a:cxn ang="0">
                    <a:pos x="515" y="586"/>
                  </a:cxn>
                  <a:cxn ang="0">
                    <a:pos x="550" y="518"/>
                  </a:cxn>
                  <a:cxn ang="0">
                    <a:pos x="594" y="458"/>
                  </a:cxn>
                  <a:cxn ang="0">
                    <a:pos x="648" y="408"/>
                  </a:cxn>
                  <a:cxn ang="0">
                    <a:pos x="712" y="369"/>
                  </a:cxn>
                  <a:cxn ang="0">
                    <a:pos x="783" y="342"/>
                  </a:cxn>
                  <a:cxn ang="0">
                    <a:pos x="861" y="328"/>
                  </a:cxn>
                  <a:cxn ang="0">
                    <a:pos x="945" y="328"/>
                  </a:cxn>
                  <a:cxn ang="0">
                    <a:pos x="1025" y="341"/>
                  </a:cxn>
                  <a:cxn ang="0">
                    <a:pos x="1095" y="366"/>
                  </a:cxn>
                  <a:cxn ang="0">
                    <a:pos x="1156" y="404"/>
                  </a:cxn>
                  <a:cxn ang="0">
                    <a:pos x="1207" y="452"/>
                  </a:cxn>
                  <a:cxn ang="0">
                    <a:pos x="1245" y="512"/>
                  </a:cxn>
                  <a:cxn ang="0">
                    <a:pos x="1273" y="581"/>
                  </a:cxn>
                  <a:cxn ang="0">
                    <a:pos x="1286" y="659"/>
                  </a:cxn>
                </a:cxnLst>
                <a:rect l="0" t="0" r="r" b="b"/>
                <a:pathLst>
                  <a:path w="1771" h="2285">
                    <a:moveTo>
                      <a:pt x="1771" y="1009"/>
                    </a:moveTo>
                    <a:lnTo>
                      <a:pt x="1771" y="886"/>
                    </a:lnTo>
                    <a:lnTo>
                      <a:pt x="1770" y="837"/>
                    </a:lnTo>
                    <a:lnTo>
                      <a:pt x="1768" y="788"/>
                    </a:lnTo>
                    <a:lnTo>
                      <a:pt x="1764" y="741"/>
                    </a:lnTo>
                    <a:lnTo>
                      <a:pt x="1758" y="695"/>
                    </a:lnTo>
                    <a:lnTo>
                      <a:pt x="1751" y="650"/>
                    </a:lnTo>
                    <a:lnTo>
                      <a:pt x="1742" y="607"/>
                    </a:lnTo>
                    <a:lnTo>
                      <a:pt x="1731" y="564"/>
                    </a:lnTo>
                    <a:lnTo>
                      <a:pt x="1719" y="523"/>
                    </a:lnTo>
                    <a:lnTo>
                      <a:pt x="1706" y="483"/>
                    </a:lnTo>
                    <a:lnTo>
                      <a:pt x="1690" y="445"/>
                    </a:lnTo>
                    <a:lnTo>
                      <a:pt x="1673" y="408"/>
                    </a:lnTo>
                    <a:lnTo>
                      <a:pt x="1654" y="372"/>
                    </a:lnTo>
                    <a:lnTo>
                      <a:pt x="1634" y="338"/>
                    </a:lnTo>
                    <a:lnTo>
                      <a:pt x="1612" y="305"/>
                    </a:lnTo>
                    <a:lnTo>
                      <a:pt x="1588" y="274"/>
                    </a:lnTo>
                    <a:lnTo>
                      <a:pt x="1564" y="243"/>
                    </a:lnTo>
                    <a:lnTo>
                      <a:pt x="1537" y="215"/>
                    </a:lnTo>
                    <a:lnTo>
                      <a:pt x="1508" y="189"/>
                    </a:lnTo>
                    <a:lnTo>
                      <a:pt x="1478" y="164"/>
                    </a:lnTo>
                    <a:lnTo>
                      <a:pt x="1446" y="141"/>
                    </a:lnTo>
                    <a:lnTo>
                      <a:pt x="1413" y="119"/>
                    </a:lnTo>
                    <a:lnTo>
                      <a:pt x="1378" y="99"/>
                    </a:lnTo>
                    <a:lnTo>
                      <a:pt x="1341" y="81"/>
                    </a:lnTo>
                    <a:lnTo>
                      <a:pt x="1303" y="64"/>
                    </a:lnTo>
                    <a:lnTo>
                      <a:pt x="1263" y="49"/>
                    </a:lnTo>
                    <a:lnTo>
                      <a:pt x="1222" y="37"/>
                    </a:lnTo>
                    <a:lnTo>
                      <a:pt x="1179" y="25"/>
                    </a:lnTo>
                    <a:lnTo>
                      <a:pt x="1134" y="17"/>
                    </a:lnTo>
                    <a:lnTo>
                      <a:pt x="1088" y="10"/>
                    </a:lnTo>
                    <a:lnTo>
                      <a:pt x="1039" y="4"/>
                    </a:lnTo>
                    <a:lnTo>
                      <a:pt x="990" y="1"/>
                    </a:lnTo>
                    <a:lnTo>
                      <a:pt x="938" y="0"/>
                    </a:lnTo>
                    <a:lnTo>
                      <a:pt x="879" y="1"/>
                    </a:lnTo>
                    <a:lnTo>
                      <a:pt x="821" y="5"/>
                    </a:lnTo>
                    <a:lnTo>
                      <a:pt x="764" y="11"/>
                    </a:lnTo>
                    <a:lnTo>
                      <a:pt x="710" y="19"/>
                    </a:lnTo>
                    <a:lnTo>
                      <a:pt x="659" y="30"/>
                    </a:lnTo>
                    <a:lnTo>
                      <a:pt x="609" y="42"/>
                    </a:lnTo>
                    <a:lnTo>
                      <a:pt x="562" y="57"/>
                    </a:lnTo>
                    <a:lnTo>
                      <a:pt x="516" y="74"/>
                    </a:lnTo>
                    <a:lnTo>
                      <a:pt x="473" y="93"/>
                    </a:lnTo>
                    <a:lnTo>
                      <a:pt x="432" y="114"/>
                    </a:lnTo>
                    <a:lnTo>
                      <a:pt x="392" y="137"/>
                    </a:lnTo>
                    <a:lnTo>
                      <a:pt x="354" y="163"/>
                    </a:lnTo>
                    <a:lnTo>
                      <a:pt x="319" y="190"/>
                    </a:lnTo>
                    <a:lnTo>
                      <a:pt x="286" y="218"/>
                    </a:lnTo>
                    <a:lnTo>
                      <a:pt x="254" y="250"/>
                    </a:lnTo>
                    <a:lnTo>
                      <a:pt x="225" y="282"/>
                    </a:lnTo>
                    <a:lnTo>
                      <a:pt x="196" y="317"/>
                    </a:lnTo>
                    <a:lnTo>
                      <a:pt x="171" y="353"/>
                    </a:lnTo>
                    <a:lnTo>
                      <a:pt x="147" y="391"/>
                    </a:lnTo>
                    <a:lnTo>
                      <a:pt x="125" y="431"/>
                    </a:lnTo>
                    <a:lnTo>
                      <a:pt x="104" y="473"/>
                    </a:lnTo>
                    <a:lnTo>
                      <a:pt x="86" y="516"/>
                    </a:lnTo>
                    <a:lnTo>
                      <a:pt x="69" y="560"/>
                    </a:lnTo>
                    <a:lnTo>
                      <a:pt x="54" y="606"/>
                    </a:lnTo>
                    <a:lnTo>
                      <a:pt x="42" y="654"/>
                    </a:lnTo>
                    <a:lnTo>
                      <a:pt x="30" y="703"/>
                    </a:lnTo>
                    <a:lnTo>
                      <a:pt x="21" y="754"/>
                    </a:lnTo>
                    <a:lnTo>
                      <a:pt x="13" y="806"/>
                    </a:lnTo>
                    <a:lnTo>
                      <a:pt x="7" y="860"/>
                    </a:lnTo>
                    <a:lnTo>
                      <a:pt x="3" y="914"/>
                    </a:lnTo>
                    <a:lnTo>
                      <a:pt x="1" y="971"/>
                    </a:lnTo>
                    <a:lnTo>
                      <a:pt x="0" y="1028"/>
                    </a:lnTo>
                    <a:lnTo>
                      <a:pt x="1" y="1095"/>
                    </a:lnTo>
                    <a:lnTo>
                      <a:pt x="4" y="1161"/>
                    </a:lnTo>
                    <a:lnTo>
                      <a:pt x="8" y="1225"/>
                    </a:lnTo>
                    <a:lnTo>
                      <a:pt x="16" y="1289"/>
                    </a:lnTo>
                    <a:lnTo>
                      <a:pt x="24" y="1351"/>
                    </a:lnTo>
                    <a:lnTo>
                      <a:pt x="35" y="1412"/>
                    </a:lnTo>
                    <a:lnTo>
                      <a:pt x="48" y="1471"/>
                    </a:lnTo>
                    <a:lnTo>
                      <a:pt x="63" y="1528"/>
                    </a:lnTo>
                    <a:lnTo>
                      <a:pt x="80" y="1585"/>
                    </a:lnTo>
                    <a:lnTo>
                      <a:pt x="100" y="1639"/>
                    </a:lnTo>
                    <a:lnTo>
                      <a:pt x="121" y="1692"/>
                    </a:lnTo>
                    <a:lnTo>
                      <a:pt x="144" y="1742"/>
                    </a:lnTo>
                    <a:lnTo>
                      <a:pt x="170" y="1791"/>
                    </a:lnTo>
                    <a:lnTo>
                      <a:pt x="197" y="1839"/>
                    </a:lnTo>
                    <a:lnTo>
                      <a:pt x="228" y="1884"/>
                    </a:lnTo>
                    <a:lnTo>
                      <a:pt x="260" y="1927"/>
                    </a:lnTo>
                    <a:lnTo>
                      <a:pt x="295" y="1967"/>
                    </a:lnTo>
                    <a:lnTo>
                      <a:pt x="332" y="2006"/>
                    </a:lnTo>
                    <a:lnTo>
                      <a:pt x="372" y="2043"/>
                    </a:lnTo>
                    <a:lnTo>
                      <a:pt x="413" y="2077"/>
                    </a:lnTo>
                    <a:lnTo>
                      <a:pt x="457" y="2109"/>
                    </a:lnTo>
                    <a:lnTo>
                      <a:pt x="503" y="2138"/>
                    </a:lnTo>
                    <a:lnTo>
                      <a:pt x="553" y="2166"/>
                    </a:lnTo>
                    <a:lnTo>
                      <a:pt x="603" y="2190"/>
                    </a:lnTo>
                    <a:lnTo>
                      <a:pt x="657" y="2212"/>
                    </a:lnTo>
                    <a:lnTo>
                      <a:pt x="714" y="2231"/>
                    </a:lnTo>
                    <a:lnTo>
                      <a:pt x="772" y="2247"/>
                    </a:lnTo>
                    <a:lnTo>
                      <a:pt x="833" y="2261"/>
                    </a:lnTo>
                    <a:lnTo>
                      <a:pt x="897" y="2271"/>
                    </a:lnTo>
                    <a:lnTo>
                      <a:pt x="964" y="2279"/>
                    </a:lnTo>
                    <a:lnTo>
                      <a:pt x="1032" y="2284"/>
                    </a:lnTo>
                    <a:lnTo>
                      <a:pt x="1105" y="2285"/>
                    </a:lnTo>
                    <a:lnTo>
                      <a:pt x="1142" y="2285"/>
                    </a:lnTo>
                    <a:lnTo>
                      <a:pt x="1181" y="2284"/>
                    </a:lnTo>
                    <a:lnTo>
                      <a:pt x="1220" y="2283"/>
                    </a:lnTo>
                    <a:lnTo>
                      <a:pt x="1259" y="2281"/>
                    </a:lnTo>
                    <a:lnTo>
                      <a:pt x="1298" y="2278"/>
                    </a:lnTo>
                    <a:lnTo>
                      <a:pt x="1337" y="2275"/>
                    </a:lnTo>
                    <a:lnTo>
                      <a:pt x="1375" y="2270"/>
                    </a:lnTo>
                    <a:lnTo>
                      <a:pt x="1414" y="2265"/>
                    </a:lnTo>
                    <a:lnTo>
                      <a:pt x="1451" y="2260"/>
                    </a:lnTo>
                    <a:lnTo>
                      <a:pt x="1490" y="2254"/>
                    </a:lnTo>
                    <a:lnTo>
                      <a:pt x="1528" y="2246"/>
                    </a:lnTo>
                    <a:lnTo>
                      <a:pt x="1566" y="2239"/>
                    </a:lnTo>
                    <a:lnTo>
                      <a:pt x="1604" y="2229"/>
                    </a:lnTo>
                    <a:lnTo>
                      <a:pt x="1642" y="2220"/>
                    </a:lnTo>
                    <a:lnTo>
                      <a:pt x="1678" y="2210"/>
                    </a:lnTo>
                    <a:lnTo>
                      <a:pt x="1715" y="2198"/>
                    </a:lnTo>
                    <a:lnTo>
                      <a:pt x="1715" y="1845"/>
                    </a:lnTo>
                    <a:lnTo>
                      <a:pt x="1667" y="1862"/>
                    </a:lnTo>
                    <a:lnTo>
                      <a:pt x="1615" y="1877"/>
                    </a:lnTo>
                    <a:lnTo>
                      <a:pt x="1563" y="1891"/>
                    </a:lnTo>
                    <a:lnTo>
                      <a:pt x="1510" y="1904"/>
                    </a:lnTo>
                    <a:lnTo>
                      <a:pt x="1483" y="1909"/>
                    </a:lnTo>
                    <a:lnTo>
                      <a:pt x="1457" y="1913"/>
                    </a:lnTo>
                    <a:lnTo>
                      <a:pt x="1429" y="1917"/>
                    </a:lnTo>
                    <a:lnTo>
                      <a:pt x="1403" y="1920"/>
                    </a:lnTo>
                    <a:lnTo>
                      <a:pt x="1376" y="1923"/>
                    </a:lnTo>
                    <a:lnTo>
                      <a:pt x="1349" y="1926"/>
                    </a:lnTo>
                    <a:lnTo>
                      <a:pt x="1323" y="1927"/>
                    </a:lnTo>
                    <a:lnTo>
                      <a:pt x="1298" y="1928"/>
                    </a:lnTo>
                    <a:lnTo>
                      <a:pt x="1252" y="1926"/>
                    </a:lnTo>
                    <a:lnTo>
                      <a:pt x="1207" y="1922"/>
                    </a:lnTo>
                    <a:lnTo>
                      <a:pt x="1162" y="1916"/>
                    </a:lnTo>
                    <a:lnTo>
                      <a:pt x="1119" y="1907"/>
                    </a:lnTo>
                    <a:lnTo>
                      <a:pt x="1077" y="1896"/>
                    </a:lnTo>
                    <a:lnTo>
                      <a:pt x="1037" y="1883"/>
                    </a:lnTo>
                    <a:lnTo>
                      <a:pt x="997" y="1867"/>
                    </a:lnTo>
                    <a:lnTo>
                      <a:pt x="959" y="1849"/>
                    </a:lnTo>
                    <a:lnTo>
                      <a:pt x="922" y="1829"/>
                    </a:lnTo>
                    <a:lnTo>
                      <a:pt x="886" y="1808"/>
                    </a:lnTo>
                    <a:lnTo>
                      <a:pt x="851" y="1784"/>
                    </a:lnTo>
                    <a:lnTo>
                      <a:pt x="819" y="1759"/>
                    </a:lnTo>
                    <a:lnTo>
                      <a:pt x="787" y="1733"/>
                    </a:lnTo>
                    <a:lnTo>
                      <a:pt x="757" y="1703"/>
                    </a:lnTo>
                    <a:lnTo>
                      <a:pt x="727" y="1674"/>
                    </a:lnTo>
                    <a:lnTo>
                      <a:pt x="700" y="1643"/>
                    </a:lnTo>
                    <a:lnTo>
                      <a:pt x="674" y="1609"/>
                    </a:lnTo>
                    <a:lnTo>
                      <a:pt x="648" y="1575"/>
                    </a:lnTo>
                    <a:lnTo>
                      <a:pt x="625" y="1540"/>
                    </a:lnTo>
                    <a:lnTo>
                      <a:pt x="603" y="1504"/>
                    </a:lnTo>
                    <a:lnTo>
                      <a:pt x="583" y="1466"/>
                    </a:lnTo>
                    <a:lnTo>
                      <a:pt x="565" y="1428"/>
                    </a:lnTo>
                    <a:lnTo>
                      <a:pt x="548" y="1389"/>
                    </a:lnTo>
                    <a:lnTo>
                      <a:pt x="533" y="1349"/>
                    </a:lnTo>
                    <a:lnTo>
                      <a:pt x="519" y="1308"/>
                    </a:lnTo>
                    <a:lnTo>
                      <a:pt x="507" y="1266"/>
                    </a:lnTo>
                    <a:lnTo>
                      <a:pt x="497" y="1224"/>
                    </a:lnTo>
                    <a:lnTo>
                      <a:pt x="489" y="1182"/>
                    </a:lnTo>
                    <a:lnTo>
                      <a:pt x="482" y="1139"/>
                    </a:lnTo>
                    <a:lnTo>
                      <a:pt x="478" y="1096"/>
                    </a:lnTo>
                    <a:lnTo>
                      <a:pt x="475" y="1054"/>
                    </a:lnTo>
                    <a:lnTo>
                      <a:pt x="474" y="1009"/>
                    </a:lnTo>
                    <a:lnTo>
                      <a:pt x="1771" y="1009"/>
                    </a:lnTo>
                    <a:close/>
                    <a:moveTo>
                      <a:pt x="1289" y="702"/>
                    </a:moveTo>
                    <a:lnTo>
                      <a:pt x="488" y="702"/>
                    </a:lnTo>
                    <a:lnTo>
                      <a:pt x="490" y="681"/>
                    </a:lnTo>
                    <a:lnTo>
                      <a:pt x="494" y="662"/>
                    </a:lnTo>
                    <a:lnTo>
                      <a:pt x="498" y="643"/>
                    </a:lnTo>
                    <a:lnTo>
                      <a:pt x="503" y="623"/>
                    </a:lnTo>
                    <a:lnTo>
                      <a:pt x="509" y="604"/>
                    </a:lnTo>
                    <a:lnTo>
                      <a:pt x="515" y="586"/>
                    </a:lnTo>
                    <a:lnTo>
                      <a:pt x="522" y="568"/>
                    </a:lnTo>
                    <a:lnTo>
                      <a:pt x="531" y="550"/>
                    </a:lnTo>
                    <a:lnTo>
                      <a:pt x="540" y="534"/>
                    </a:lnTo>
                    <a:lnTo>
                      <a:pt x="550" y="518"/>
                    </a:lnTo>
                    <a:lnTo>
                      <a:pt x="559" y="502"/>
                    </a:lnTo>
                    <a:lnTo>
                      <a:pt x="571" y="487"/>
                    </a:lnTo>
                    <a:lnTo>
                      <a:pt x="582" y="472"/>
                    </a:lnTo>
                    <a:lnTo>
                      <a:pt x="594" y="458"/>
                    </a:lnTo>
                    <a:lnTo>
                      <a:pt x="607" y="445"/>
                    </a:lnTo>
                    <a:lnTo>
                      <a:pt x="620" y="432"/>
                    </a:lnTo>
                    <a:lnTo>
                      <a:pt x="635" y="419"/>
                    </a:lnTo>
                    <a:lnTo>
                      <a:pt x="648" y="408"/>
                    </a:lnTo>
                    <a:lnTo>
                      <a:pt x="664" y="397"/>
                    </a:lnTo>
                    <a:lnTo>
                      <a:pt x="680" y="387"/>
                    </a:lnTo>
                    <a:lnTo>
                      <a:pt x="696" y="378"/>
                    </a:lnTo>
                    <a:lnTo>
                      <a:pt x="712" y="369"/>
                    </a:lnTo>
                    <a:lnTo>
                      <a:pt x="729" y="362"/>
                    </a:lnTo>
                    <a:lnTo>
                      <a:pt x="747" y="354"/>
                    </a:lnTo>
                    <a:lnTo>
                      <a:pt x="765" y="348"/>
                    </a:lnTo>
                    <a:lnTo>
                      <a:pt x="783" y="342"/>
                    </a:lnTo>
                    <a:lnTo>
                      <a:pt x="802" y="338"/>
                    </a:lnTo>
                    <a:lnTo>
                      <a:pt x="821" y="333"/>
                    </a:lnTo>
                    <a:lnTo>
                      <a:pt x="841" y="330"/>
                    </a:lnTo>
                    <a:lnTo>
                      <a:pt x="861" y="328"/>
                    </a:lnTo>
                    <a:lnTo>
                      <a:pt x="881" y="327"/>
                    </a:lnTo>
                    <a:lnTo>
                      <a:pt x="902" y="326"/>
                    </a:lnTo>
                    <a:lnTo>
                      <a:pt x="923" y="326"/>
                    </a:lnTo>
                    <a:lnTo>
                      <a:pt x="945" y="328"/>
                    </a:lnTo>
                    <a:lnTo>
                      <a:pt x="965" y="330"/>
                    </a:lnTo>
                    <a:lnTo>
                      <a:pt x="986" y="332"/>
                    </a:lnTo>
                    <a:lnTo>
                      <a:pt x="1005" y="337"/>
                    </a:lnTo>
                    <a:lnTo>
                      <a:pt x="1025" y="341"/>
                    </a:lnTo>
                    <a:lnTo>
                      <a:pt x="1043" y="346"/>
                    </a:lnTo>
                    <a:lnTo>
                      <a:pt x="1061" y="352"/>
                    </a:lnTo>
                    <a:lnTo>
                      <a:pt x="1078" y="359"/>
                    </a:lnTo>
                    <a:lnTo>
                      <a:pt x="1095" y="366"/>
                    </a:lnTo>
                    <a:lnTo>
                      <a:pt x="1111" y="374"/>
                    </a:lnTo>
                    <a:lnTo>
                      <a:pt x="1127" y="384"/>
                    </a:lnTo>
                    <a:lnTo>
                      <a:pt x="1142" y="393"/>
                    </a:lnTo>
                    <a:lnTo>
                      <a:pt x="1156" y="404"/>
                    </a:lnTo>
                    <a:lnTo>
                      <a:pt x="1170" y="415"/>
                    </a:lnTo>
                    <a:lnTo>
                      <a:pt x="1182" y="427"/>
                    </a:lnTo>
                    <a:lnTo>
                      <a:pt x="1195" y="439"/>
                    </a:lnTo>
                    <a:lnTo>
                      <a:pt x="1207" y="452"/>
                    </a:lnTo>
                    <a:lnTo>
                      <a:pt x="1217" y="467"/>
                    </a:lnTo>
                    <a:lnTo>
                      <a:pt x="1228" y="480"/>
                    </a:lnTo>
                    <a:lnTo>
                      <a:pt x="1237" y="496"/>
                    </a:lnTo>
                    <a:lnTo>
                      <a:pt x="1245" y="512"/>
                    </a:lnTo>
                    <a:lnTo>
                      <a:pt x="1254" y="528"/>
                    </a:lnTo>
                    <a:lnTo>
                      <a:pt x="1261" y="545"/>
                    </a:lnTo>
                    <a:lnTo>
                      <a:pt x="1267" y="563"/>
                    </a:lnTo>
                    <a:lnTo>
                      <a:pt x="1273" y="581"/>
                    </a:lnTo>
                    <a:lnTo>
                      <a:pt x="1277" y="600"/>
                    </a:lnTo>
                    <a:lnTo>
                      <a:pt x="1281" y="619"/>
                    </a:lnTo>
                    <a:lnTo>
                      <a:pt x="1284" y="640"/>
                    </a:lnTo>
                    <a:lnTo>
                      <a:pt x="1286" y="659"/>
                    </a:lnTo>
                    <a:lnTo>
                      <a:pt x="1287" y="680"/>
                    </a:lnTo>
                    <a:lnTo>
                      <a:pt x="1289" y="70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45" name="Freeform 14"/>
            <p:cNvSpPr>
              <a:spLocks/>
            </p:cNvSpPr>
            <p:nvPr userDrawn="1"/>
          </p:nvSpPr>
          <p:spPr bwMode="auto">
            <a:xfrm>
              <a:off x="1735408" y="366051"/>
              <a:ext cx="206884" cy="21119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52"/>
                </a:cxn>
                <a:cxn ang="0">
                  <a:pos x="0" y="359"/>
                </a:cxn>
                <a:cxn ang="0">
                  <a:pos x="12" y="364"/>
                </a:cxn>
                <a:cxn ang="0">
                  <a:pos x="44" y="376"/>
                </a:cxn>
                <a:cxn ang="0">
                  <a:pos x="95" y="396"/>
                </a:cxn>
                <a:cxn ang="0">
                  <a:pos x="162" y="421"/>
                </a:cxn>
                <a:cxn ang="0">
                  <a:pos x="241" y="452"/>
                </a:cxn>
                <a:cxn ang="0">
                  <a:pos x="330" y="486"/>
                </a:cxn>
                <a:cxn ang="0">
                  <a:pos x="427" y="524"/>
                </a:cxn>
                <a:cxn ang="0">
                  <a:pos x="529" y="563"/>
                </a:cxn>
                <a:cxn ang="0">
                  <a:pos x="631" y="603"/>
                </a:cxn>
                <a:cxn ang="0">
                  <a:pos x="733" y="642"/>
                </a:cxn>
                <a:cxn ang="0">
                  <a:pos x="832" y="680"/>
                </a:cxn>
                <a:cxn ang="0">
                  <a:pos x="923" y="715"/>
                </a:cxn>
                <a:cxn ang="0">
                  <a:pos x="1005" y="747"/>
                </a:cxn>
                <a:cxn ang="0">
                  <a:pos x="1074" y="773"/>
                </a:cxn>
                <a:cxn ang="0">
                  <a:pos x="1130" y="795"/>
                </a:cxn>
                <a:cxn ang="0">
                  <a:pos x="1167" y="809"/>
                </a:cxn>
                <a:cxn ang="0">
                  <a:pos x="1130" y="824"/>
                </a:cxn>
                <a:cxn ang="0">
                  <a:pos x="1074" y="845"/>
                </a:cxn>
                <a:cxn ang="0">
                  <a:pos x="1005" y="872"/>
                </a:cxn>
                <a:cxn ang="0">
                  <a:pos x="923" y="903"/>
                </a:cxn>
                <a:cxn ang="0">
                  <a:pos x="832" y="939"/>
                </a:cxn>
                <a:cxn ang="0">
                  <a:pos x="733" y="976"/>
                </a:cxn>
                <a:cxn ang="0">
                  <a:pos x="631" y="1016"/>
                </a:cxn>
                <a:cxn ang="0">
                  <a:pos x="529" y="1054"/>
                </a:cxn>
                <a:cxn ang="0">
                  <a:pos x="427" y="1093"/>
                </a:cxn>
                <a:cxn ang="0">
                  <a:pos x="330" y="1131"/>
                </a:cxn>
                <a:cxn ang="0">
                  <a:pos x="241" y="1165"/>
                </a:cxn>
                <a:cxn ang="0">
                  <a:pos x="162" y="1196"/>
                </a:cxn>
                <a:cxn ang="0">
                  <a:pos x="95" y="1221"/>
                </a:cxn>
                <a:cxn ang="0">
                  <a:pos x="44" y="1241"/>
                </a:cxn>
                <a:cxn ang="0">
                  <a:pos x="12" y="1254"/>
                </a:cxn>
                <a:cxn ang="0">
                  <a:pos x="0" y="1258"/>
                </a:cxn>
                <a:cxn ang="0">
                  <a:pos x="0" y="1616"/>
                </a:cxn>
                <a:cxn ang="0">
                  <a:pos x="1587" y="973"/>
                </a:cxn>
                <a:cxn ang="0">
                  <a:pos x="1587" y="644"/>
                </a:cxn>
                <a:cxn ang="0">
                  <a:pos x="0" y="0"/>
                </a:cxn>
              </a:cxnLst>
              <a:rect l="0" t="0" r="r" b="b"/>
              <a:pathLst>
                <a:path w="1587" h="1616">
                  <a:moveTo>
                    <a:pt x="0" y="0"/>
                  </a:moveTo>
                  <a:lnTo>
                    <a:pt x="0" y="52"/>
                  </a:lnTo>
                  <a:lnTo>
                    <a:pt x="0" y="359"/>
                  </a:lnTo>
                  <a:lnTo>
                    <a:pt x="12" y="364"/>
                  </a:lnTo>
                  <a:lnTo>
                    <a:pt x="44" y="376"/>
                  </a:lnTo>
                  <a:lnTo>
                    <a:pt x="95" y="396"/>
                  </a:lnTo>
                  <a:lnTo>
                    <a:pt x="162" y="421"/>
                  </a:lnTo>
                  <a:lnTo>
                    <a:pt x="241" y="452"/>
                  </a:lnTo>
                  <a:lnTo>
                    <a:pt x="330" y="486"/>
                  </a:lnTo>
                  <a:lnTo>
                    <a:pt x="427" y="524"/>
                  </a:lnTo>
                  <a:lnTo>
                    <a:pt x="529" y="563"/>
                  </a:lnTo>
                  <a:lnTo>
                    <a:pt x="631" y="603"/>
                  </a:lnTo>
                  <a:lnTo>
                    <a:pt x="733" y="642"/>
                  </a:lnTo>
                  <a:lnTo>
                    <a:pt x="832" y="680"/>
                  </a:lnTo>
                  <a:lnTo>
                    <a:pt x="923" y="715"/>
                  </a:lnTo>
                  <a:lnTo>
                    <a:pt x="1005" y="747"/>
                  </a:lnTo>
                  <a:lnTo>
                    <a:pt x="1074" y="773"/>
                  </a:lnTo>
                  <a:lnTo>
                    <a:pt x="1130" y="795"/>
                  </a:lnTo>
                  <a:lnTo>
                    <a:pt x="1167" y="809"/>
                  </a:lnTo>
                  <a:lnTo>
                    <a:pt x="1130" y="824"/>
                  </a:lnTo>
                  <a:lnTo>
                    <a:pt x="1074" y="845"/>
                  </a:lnTo>
                  <a:lnTo>
                    <a:pt x="1005" y="872"/>
                  </a:lnTo>
                  <a:lnTo>
                    <a:pt x="923" y="903"/>
                  </a:lnTo>
                  <a:lnTo>
                    <a:pt x="832" y="939"/>
                  </a:lnTo>
                  <a:lnTo>
                    <a:pt x="733" y="976"/>
                  </a:lnTo>
                  <a:lnTo>
                    <a:pt x="631" y="1016"/>
                  </a:lnTo>
                  <a:lnTo>
                    <a:pt x="529" y="1054"/>
                  </a:lnTo>
                  <a:lnTo>
                    <a:pt x="427" y="1093"/>
                  </a:lnTo>
                  <a:lnTo>
                    <a:pt x="330" y="1131"/>
                  </a:lnTo>
                  <a:lnTo>
                    <a:pt x="241" y="1165"/>
                  </a:lnTo>
                  <a:lnTo>
                    <a:pt x="162" y="1196"/>
                  </a:lnTo>
                  <a:lnTo>
                    <a:pt x="95" y="1221"/>
                  </a:lnTo>
                  <a:lnTo>
                    <a:pt x="44" y="1241"/>
                  </a:lnTo>
                  <a:lnTo>
                    <a:pt x="12" y="1254"/>
                  </a:lnTo>
                  <a:lnTo>
                    <a:pt x="0" y="1258"/>
                  </a:lnTo>
                  <a:lnTo>
                    <a:pt x="0" y="1616"/>
                  </a:lnTo>
                  <a:lnTo>
                    <a:pt x="1587" y="973"/>
                  </a:lnTo>
                  <a:lnTo>
                    <a:pt x="1587" y="64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B0F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pt-B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911868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-Title and Two Columns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9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platzhalter 6"/>
          <p:cNvSpPr>
            <a:spLocks noGrp="1"/>
          </p:cNvSpPr>
          <p:nvPr>
            <p:ph type="body" sz="quarter" idx="13"/>
            <p:custDataLst>
              <p:tags r:id="rId3"/>
            </p:custDataLst>
          </p:nvPr>
        </p:nvSpPr>
        <p:spPr>
          <a:xfrm>
            <a:off x="468313" y="1102301"/>
            <a:ext cx="3923687" cy="4402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36000" numCol="1" anchor="t" anchorCtr="0" compatLnSpc="1">
            <a:prstTxWarp prst="textNoShape">
              <a:avLst/>
            </a:prstTxWarp>
            <a:noAutofit/>
          </a:bodyPr>
          <a:lstStyle>
            <a:lvl1pPr marL="0" indent="0">
              <a:buFontTx/>
              <a:buNone/>
              <a:defRPr lang="en-US" sz="2000" b="1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>
              <a:defRPr b="1">
                <a:solidFill>
                  <a:schemeClr val="accent3"/>
                </a:solidFill>
              </a:defRPr>
            </a:lvl2pPr>
            <a:lvl3pPr>
              <a:defRPr b="1">
                <a:solidFill>
                  <a:schemeClr val="accent3"/>
                </a:solidFill>
              </a:defRPr>
            </a:lvl3pPr>
          </a:lstStyle>
          <a:p>
            <a:pPr marL="0" lvl="0" indent="0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</a:pPr>
            <a:r>
              <a:rPr lang="en-US" noProof="0" dirty="0" err="1" smtClean="0"/>
              <a:t>Textmasterformate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/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4"/>
            <p:custDataLst>
              <p:tags r:id="rId4"/>
            </p:custDataLst>
          </p:nvPr>
        </p:nvSpPr>
        <p:spPr>
          <a:xfrm>
            <a:off x="4751999" y="1102301"/>
            <a:ext cx="3923689" cy="4402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36000" numCol="1" anchor="t" anchorCtr="0" compatLnSpc="1">
            <a:prstTxWarp prst="textNoShape">
              <a:avLst/>
            </a:prstTxWarp>
            <a:noAutofit/>
          </a:bodyPr>
          <a:lstStyle>
            <a:lvl1pPr marL="0" indent="0">
              <a:buFontTx/>
              <a:buNone/>
              <a:defRPr lang="en-US" sz="2000" b="1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>
              <a:defRPr b="1">
                <a:solidFill>
                  <a:schemeClr val="accent3"/>
                </a:solidFill>
              </a:defRPr>
            </a:lvl2pPr>
            <a:lvl3pPr>
              <a:defRPr b="1">
                <a:solidFill>
                  <a:schemeClr val="accent3"/>
                </a:solidFill>
              </a:defRPr>
            </a:lvl3pPr>
          </a:lstStyle>
          <a:p>
            <a:pPr marL="0" lvl="0" indent="0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</a:pPr>
            <a:r>
              <a:rPr lang="en-US" noProof="0" dirty="0" err="1" smtClean="0"/>
              <a:t>Textmasterformate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/>
          </a:p>
        </p:txBody>
      </p:sp>
      <p:sp>
        <p:nvSpPr>
          <p:cNvPr id="9" name="Inhaltsplatzhalter 2"/>
          <p:cNvSpPr>
            <a:spLocks noGrp="1"/>
          </p:cNvSpPr>
          <p:nvPr>
            <p:ph idx="1"/>
          </p:nvPr>
        </p:nvSpPr>
        <p:spPr>
          <a:xfrm>
            <a:off x="468314" y="1640438"/>
            <a:ext cx="3923686" cy="474131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>
            <a:lvl1pPr marL="271463" indent="-2714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2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9263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5475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2663" indent="-174625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Fünf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/>
          </a:p>
        </p:txBody>
      </p:sp>
      <p:sp>
        <p:nvSpPr>
          <p:cNvPr id="11" name="Inhaltsplatzhalter 2"/>
          <p:cNvSpPr>
            <a:spLocks noGrp="1"/>
          </p:cNvSpPr>
          <p:nvPr>
            <p:ph idx="15"/>
          </p:nvPr>
        </p:nvSpPr>
        <p:spPr>
          <a:xfrm>
            <a:off x="4751999" y="1640438"/>
            <a:ext cx="3935893" cy="474131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>
            <a:lvl1pPr marL="271463" indent="-2714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2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9263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5475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2663" indent="-174625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Fünf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63147753"/>
      </p:ext>
    </p:extLst>
  </p:cSld>
  <p:clrMapOvr>
    <a:masterClrMapping/>
  </p:clrMapOvr>
  <p:hf hd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lumns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2"/>
          <p:cNvSpPr>
            <a:spLocks noGrp="1"/>
          </p:cNvSpPr>
          <p:nvPr>
            <p:ph idx="1"/>
          </p:nvPr>
        </p:nvSpPr>
        <p:spPr>
          <a:xfrm>
            <a:off x="468314" y="1102301"/>
            <a:ext cx="3923686" cy="527945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0" numCol="1" anchor="t" anchorCtr="0" compatLnSpc="1">
            <a:prstTxWarp prst="textNoShape">
              <a:avLst/>
            </a:prstTxWarp>
          </a:bodyPr>
          <a:lstStyle>
            <a:lvl1pPr marL="271463" indent="-2714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2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9263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5475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2663" indent="-174625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Fünf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/>
          </a:p>
        </p:txBody>
      </p:sp>
      <p:sp>
        <p:nvSpPr>
          <p:cNvPr id="6" name="Inhaltsplatzhalter 2"/>
          <p:cNvSpPr>
            <a:spLocks noGrp="1"/>
          </p:cNvSpPr>
          <p:nvPr>
            <p:ph idx="15"/>
          </p:nvPr>
        </p:nvSpPr>
        <p:spPr>
          <a:xfrm>
            <a:off x="4751999" y="1102301"/>
            <a:ext cx="3935893" cy="527945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0" numCol="1" anchor="t" anchorCtr="0" compatLnSpc="1">
            <a:prstTxWarp prst="textNoShape">
              <a:avLst/>
            </a:prstTxWarp>
          </a:bodyPr>
          <a:lstStyle>
            <a:lvl1pPr marL="271463" indent="-2714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2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9263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5475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2663" indent="-174625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Fünf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95359129"/>
      </p:ext>
    </p:extLst>
  </p:cSld>
  <p:clrMapOvr>
    <a:masterClrMapping/>
  </p:clrMapOvr>
  <p:hf hd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14" name="Objekt 1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13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el 9"/>
          <p:cNvSpPr>
            <a:spLocks noGrp="1"/>
          </p:cNvSpPr>
          <p:nvPr>
            <p:ph type="title"/>
          </p:nvPr>
        </p:nvSpPr>
        <p:spPr bwMode="white">
          <a:xfrm>
            <a:off x="468313" y="1443037"/>
            <a:ext cx="8207375" cy="1323975"/>
          </a:xfrm>
        </p:spPr>
        <p:txBody>
          <a:bodyPr wrap="square" lIns="0" tIns="0" rIns="0" bIns="72000" anchor="t" anchorCtr="0">
            <a:no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None/>
              <a:defRPr sz="3600" b="1" i="0">
                <a:solidFill>
                  <a:schemeClr val="accent2"/>
                </a:solidFill>
                <a:latin typeface="Arial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8" name="AMC_Footer"/>
          <p:cNvSpPr txBox="1">
            <a:spLocks/>
          </p:cNvSpPr>
          <p:nvPr userDrawn="1"/>
        </p:nvSpPr>
        <p:spPr>
          <a:xfrm>
            <a:off x="468313" y="6569075"/>
            <a:ext cx="5005251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cs typeface="Arial" pitchFamily="34" charset="0"/>
              </a:rPr>
              <a:t>Copyright © 2012 Accenture. All rights reserved.</a:t>
            </a:r>
            <a:endParaRPr lang="de-DE" sz="8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1" name="Inhaltsplatzhalter 13"/>
          <p:cNvSpPr txBox="1">
            <a:spLocks/>
          </p:cNvSpPr>
          <p:nvPr userDrawn="1"/>
        </p:nvSpPr>
        <p:spPr>
          <a:xfrm>
            <a:off x="8284935" y="6569075"/>
            <a:ext cx="396739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algn="r">
              <a:defRPr/>
            </a:pPr>
            <a:fld id="{EB578BD5-E3A8-4354-91BC-79CE4598B8D1}" type="slidenum">
              <a:rPr lang="en-US" sz="800" smtClean="0">
                <a:solidFill>
                  <a:srgbClr val="FFFFFF"/>
                </a:solidFill>
                <a:cs typeface="Arial" pitchFamily="34" charset="0"/>
              </a:rPr>
              <a:pPr algn="r">
                <a:defRPr/>
              </a:pPr>
              <a:t>‹#›</a:t>
            </a:fld>
            <a:endParaRPr lang="de-DE" sz="8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2" name="AMC_Footer"/>
          <p:cNvSpPr txBox="1">
            <a:spLocks/>
          </p:cNvSpPr>
          <p:nvPr userDrawn="1"/>
        </p:nvSpPr>
        <p:spPr>
          <a:xfrm>
            <a:off x="468313" y="6569075"/>
            <a:ext cx="6191919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>
              <a:defRPr/>
            </a:pPr>
            <a:r>
              <a:rPr lang="en-US" sz="800" dirty="0" smtClean="0">
                <a:solidFill>
                  <a:prstClr val="black"/>
                </a:solidFill>
                <a:cs typeface="Arial" pitchFamily="34" charset="0"/>
              </a:rPr>
              <a:t>Copyright © </a:t>
            </a:r>
            <a:r>
              <a:rPr lang="en-US" sz="800" dirty="0" smtClean="0">
                <a:solidFill>
                  <a:srgbClr val="000000"/>
                </a:solidFill>
                <a:cs typeface="Arial" pitchFamily="34" charset="0"/>
              </a:rPr>
              <a:t>2012</a:t>
            </a:r>
            <a:r>
              <a:rPr lang="en-US" sz="800" dirty="0" smtClean="0">
                <a:solidFill>
                  <a:prstClr val="black"/>
                </a:solidFill>
                <a:cs typeface="Arial" pitchFamily="34" charset="0"/>
              </a:rPr>
              <a:t> Accenture. All rights reserved.</a:t>
            </a:r>
            <a:endParaRPr lang="en-US" sz="800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3" name="Inhaltsplatzhalter 13"/>
          <p:cNvSpPr txBox="1">
            <a:spLocks/>
          </p:cNvSpPr>
          <p:nvPr userDrawn="1"/>
        </p:nvSpPr>
        <p:spPr>
          <a:xfrm>
            <a:off x="8275017" y="6569075"/>
            <a:ext cx="396739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algn="r">
              <a:defRPr/>
            </a:pPr>
            <a:fld id="{EB578BD5-E3A8-4354-91BC-79CE4598B8D1}" type="slidenum">
              <a:rPr lang="en-US" sz="800" smtClean="0">
                <a:solidFill>
                  <a:prstClr val="black"/>
                </a:solidFill>
                <a:cs typeface="Arial" pitchFamily="34" charset="0"/>
              </a:rPr>
              <a:pPr algn="r">
                <a:defRPr/>
              </a:pPr>
              <a:t>‹#›</a:t>
            </a:fld>
            <a:endParaRPr lang="en-US" sz="800">
              <a:solidFill>
                <a:prstClr val="black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06021735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Option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37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el 17"/>
          <p:cNvSpPr>
            <a:spLocks noGrp="1"/>
          </p:cNvSpPr>
          <p:nvPr>
            <p:ph type="title"/>
          </p:nvPr>
        </p:nvSpPr>
        <p:spPr bwMode="auto">
          <a:xfrm>
            <a:off x="468313" y="4653136"/>
            <a:ext cx="8207375" cy="1323975"/>
          </a:xfrm>
        </p:spPr>
        <p:txBody>
          <a:bodyPr wrap="square" lIns="0" tIns="0" rIns="0" bIns="72000" anchor="b" anchorCtr="0">
            <a:no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None/>
              <a:defRPr sz="3600" b="1" i="0">
                <a:solidFill>
                  <a:srgbClr val="FFFFFF"/>
                </a:solidFill>
                <a:latin typeface="Arial"/>
              </a:defRPr>
            </a:lvl1pPr>
          </a:lstStyle>
          <a:p>
            <a:r>
              <a:rPr lang="en-US" noProof="0" smtClean="0"/>
              <a:t>Titelmasterformat durch Klicken bearbeiten</a:t>
            </a:r>
            <a:endParaRPr lang="en-US" noProof="0"/>
          </a:p>
        </p:txBody>
      </p:sp>
      <p:sp>
        <p:nvSpPr>
          <p:cNvPr id="10" name="AMC_Footer"/>
          <p:cNvSpPr txBox="1">
            <a:spLocks/>
          </p:cNvSpPr>
          <p:nvPr userDrawn="1"/>
        </p:nvSpPr>
        <p:spPr>
          <a:xfrm>
            <a:off x="468313" y="6569075"/>
            <a:ext cx="5005251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cs typeface="Arial" pitchFamily="34" charset="0"/>
              </a:rPr>
              <a:t>Copyright © 2012 Accenture. All rights reserved.</a:t>
            </a:r>
            <a:endParaRPr lang="de-DE" sz="8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2" name="Inhaltsplatzhalter 13"/>
          <p:cNvSpPr txBox="1">
            <a:spLocks/>
          </p:cNvSpPr>
          <p:nvPr userDrawn="1"/>
        </p:nvSpPr>
        <p:spPr>
          <a:xfrm>
            <a:off x="8284935" y="6569075"/>
            <a:ext cx="396739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algn="r">
              <a:defRPr/>
            </a:pPr>
            <a:fld id="{EB578BD5-E3A8-4354-91BC-79CE4598B8D1}" type="slidenum">
              <a:rPr lang="en-US" sz="800" smtClean="0">
                <a:solidFill>
                  <a:srgbClr val="FFFFFF"/>
                </a:solidFill>
                <a:cs typeface="Arial" pitchFamily="34" charset="0"/>
              </a:rPr>
              <a:pPr algn="r">
                <a:defRPr/>
              </a:pPr>
              <a:t>‹#›</a:t>
            </a:fld>
            <a:endParaRPr lang="de-DE" sz="800" dirty="0">
              <a:solidFill>
                <a:srgbClr val="FFFFF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0997788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Option 3"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2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7" name="AMC_Footer"/>
          <p:cNvSpPr txBox="1">
            <a:spLocks/>
          </p:cNvSpPr>
          <p:nvPr userDrawn="1"/>
        </p:nvSpPr>
        <p:spPr>
          <a:xfrm>
            <a:off x="468313" y="6569075"/>
            <a:ext cx="5005251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cs typeface="Arial" pitchFamily="34" charset="0"/>
              </a:rPr>
              <a:t>Copyright © 2012 Accenture. All rights reserved.</a:t>
            </a:r>
            <a:endParaRPr lang="de-DE" sz="8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9" name="Inhaltsplatzhalter 13"/>
          <p:cNvSpPr txBox="1">
            <a:spLocks/>
          </p:cNvSpPr>
          <p:nvPr userDrawn="1"/>
        </p:nvSpPr>
        <p:spPr>
          <a:xfrm>
            <a:off x="8284935" y="6569075"/>
            <a:ext cx="396739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algn="r">
              <a:defRPr/>
            </a:pPr>
            <a:fld id="{EB578BD5-E3A8-4354-91BC-79CE4598B8D1}" type="slidenum">
              <a:rPr lang="en-US" sz="800" smtClean="0">
                <a:solidFill>
                  <a:srgbClr val="FFFFFF"/>
                </a:solidFill>
                <a:cs typeface="Arial" pitchFamily="34" charset="0"/>
              </a:rPr>
              <a:pPr algn="r">
                <a:defRPr/>
              </a:pPr>
              <a:t>‹#›</a:t>
            </a:fld>
            <a:endParaRPr lang="de-DE" sz="8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20" name="AMC_Footer"/>
          <p:cNvSpPr txBox="1">
            <a:spLocks/>
          </p:cNvSpPr>
          <p:nvPr userDrawn="1"/>
        </p:nvSpPr>
        <p:spPr>
          <a:xfrm>
            <a:off x="468313" y="6569075"/>
            <a:ext cx="6191919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>
              <a:defRPr/>
            </a:pPr>
            <a:r>
              <a:rPr lang="en-US" sz="800" dirty="0" smtClean="0">
                <a:solidFill>
                  <a:prstClr val="black"/>
                </a:solidFill>
                <a:cs typeface="Arial" pitchFamily="34" charset="0"/>
              </a:rPr>
              <a:t>Copyright © </a:t>
            </a:r>
            <a:r>
              <a:rPr lang="en-US" sz="800" dirty="0" smtClean="0">
                <a:solidFill>
                  <a:srgbClr val="000000"/>
                </a:solidFill>
                <a:cs typeface="Arial" pitchFamily="34" charset="0"/>
              </a:rPr>
              <a:t>2012</a:t>
            </a:r>
            <a:r>
              <a:rPr lang="en-US" sz="800" dirty="0" smtClean="0">
                <a:solidFill>
                  <a:prstClr val="black"/>
                </a:solidFill>
                <a:cs typeface="Arial" pitchFamily="34" charset="0"/>
              </a:rPr>
              <a:t> Accenture. All rights reserved.</a:t>
            </a:r>
            <a:endParaRPr lang="en-US" sz="800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21" name="Inhaltsplatzhalter 13"/>
          <p:cNvSpPr txBox="1">
            <a:spLocks/>
          </p:cNvSpPr>
          <p:nvPr userDrawn="1"/>
        </p:nvSpPr>
        <p:spPr>
          <a:xfrm>
            <a:off x="8275017" y="6569075"/>
            <a:ext cx="396739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algn="r">
              <a:defRPr/>
            </a:pPr>
            <a:fld id="{EB578BD5-E3A8-4354-91BC-79CE4598B8D1}" type="slidenum">
              <a:rPr lang="en-US" sz="800" smtClean="0">
                <a:solidFill>
                  <a:prstClr val="black"/>
                </a:solidFill>
                <a:cs typeface="Arial" pitchFamily="34" charset="0"/>
              </a:rPr>
              <a:pPr algn="r">
                <a:defRPr/>
              </a:pPr>
              <a:t>‹#›</a:t>
            </a:fld>
            <a:endParaRPr lang="en-US" sz="800">
              <a:solidFill>
                <a:prstClr val="black"/>
              </a:solidFill>
              <a:cs typeface="Arial" pitchFamily="34" charset="0"/>
            </a:endParaRPr>
          </a:p>
        </p:txBody>
      </p:sp>
      <p:graphicFrame>
        <p:nvGraphicFramePr>
          <p:cNvPr id="14" name="Objekt 1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61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el 17"/>
          <p:cNvSpPr>
            <a:spLocks noGrp="1"/>
          </p:cNvSpPr>
          <p:nvPr>
            <p:ph type="title"/>
          </p:nvPr>
        </p:nvSpPr>
        <p:spPr>
          <a:xfrm>
            <a:off x="468313" y="1443037"/>
            <a:ext cx="8207375" cy="1323975"/>
          </a:xfrm>
        </p:spPr>
        <p:txBody>
          <a:bodyPr wrap="square" lIns="0" tIns="0" rIns="0" bIns="72000" anchor="t" anchorCtr="0">
            <a:no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None/>
              <a:defRPr sz="3600" b="1" i="0">
                <a:solidFill>
                  <a:schemeClr val="accent2"/>
                </a:solidFill>
                <a:latin typeface="Arial"/>
              </a:defRPr>
            </a:lvl1pPr>
          </a:lstStyle>
          <a:p>
            <a:r>
              <a:rPr lang="en-US" noProof="0" dirty="0" err="1" smtClean="0"/>
              <a:t>Titelmasterformat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393623568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2855701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220" y="0"/>
            <a:ext cx="8279423" cy="1044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5219" y="1566027"/>
            <a:ext cx="8279424" cy="892552"/>
          </a:xfrm>
        </p:spPr>
        <p:txBody>
          <a:bodyPr/>
          <a:lstStyle>
            <a:lvl3pPr>
              <a:defRPr/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35219" y="1200153"/>
            <a:ext cx="8279424" cy="2769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800">
                <a:solidFill>
                  <a:srgbClr val="00B0F0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59064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220" y="0"/>
            <a:ext cx="8279423" cy="1044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35219" y="1200153"/>
            <a:ext cx="8279424" cy="2769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800">
                <a:solidFill>
                  <a:srgbClr val="00B0F0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27679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60528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57200" y="1800001"/>
            <a:ext cx="8248650" cy="276999"/>
          </a:xfrm>
        </p:spPr>
        <p:txBody>
          <a:bodyPr/>
          <a:lstStyle>
            <a:lvl1pPr marL="0" indent="0">
              <a:spcBef>
                <a:spcPts val="3068"/>
              </a:spcBef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745286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28" name="Straight Connector 9"/>
          <p:cNvCxnSpPr>
            <a:cxnSpLocks noChangeShapeType="1"/>
          </p:cNvCxnSpPr>
          <p:nvPr userDrawn="1"/>
        </p:nvCxnSpPr>
        <p:spPr bwMode="auto">
          <a:xfrm>
            <a:off x="458788" y="6550025"/>
            <a:ext cx="8685212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</p:cxnSp>
      <p:pic>
        <p:nvPicPr>
          <p:cNvPr id="29" name="Picture 11"/>
          <p:cNvPicPr>
            <a:picLocks noChangeAspect="1"/>
          </p:cNvPicPr>
          <p:nvPr userDrawn="1"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0474" y="512676"/>
            <a:ext cx="3638439" cy="389201"/>
          </a:xfrm>
          <a:prstGeom prst="rect">
            <a:avLst/>
          </a:prstGeom>
        </p:spPr>
      </p:pic>
      <p:pic>
        <p:nvPicPr>
          <p:cNvPr id="30" name="Picture 3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32689" y="6251894"/>
            <a:ext cx="2528887" cy="175897"/>
          </a:xfrm>
          <a:prstGeom prst="rect">
            <a:avLst/>
          </a:prstGeom>
        </p:spPr>
      </p:pic>
      <p:grpSp>
        <p:nvGrpSpPr>
          <p:cNvPr id="31" name="Group 7"/>
          <p:cNvGrpSpPr/>
          <p:nvPr userDrawn="1"/>
        </p:nvGrpSpPr>
        <p:grpSpPr>
          <a:xfrm>
            <a:off x="5659332" y="1907834"/>
            <a:ext cx="3074395" cy="2060440"/>
            <a:chOff x="5701703" y="682760"/>
            <a:chExt cx="3074395" cy="2060440"/>
          </a:xfrm>
        </p:grpSpPr>
        <p:sp>
          <p:nvSpPr>
            <p:cNvPr id="32" name="Freeform 8"/>
            <p:cNvSpPr/>
            <p:nvPr/>
          </p:nvSpPr>
          <p:spPr>
            <a:xfrm>
              <a:off x="6164291" y="682760"/>
              <a:ext cx="2013677" cy="2060440"/>
            </a:xfrm>
            <a:custGeom>
              <a:avLst/>
              <a:gdLst>
                <a:gd name="connsiteX0" fmla="*/ 0 w 4457700"/>
                <a:gd name="connsiteY0" fmla="*/ 0 h 4552950"/>
                <a:gd name="connsiteX1" fmla="*/ 4457700 w 4457700"/>
                <a:gd name="connsiteY1" fmla="*/ 1828800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24037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16893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62462"/>
                <a:gd name="connsiteY0" fmla="*/ 0 h 4552950"/>
                <a:gd name="connsiteX1" fmla="*/ 4462462 w 4462462"/>
                <a:gd name="connsiteY1" fmla="*/ 1819275 h 4552950"/>
                <a:gd name="connsiteX2" fmla="*/ 4457700 w 4462462"/>
                <a:gd name="connsiteY2" fmla="*/ 2743200 h 4552950"/>
                <a:gd name="connsiteX3" fmla="*/ 0 w 4462462"/>
                <a:gd name="connsiteY3" fmla="*/ 4552950 h 4552950"/>
                <a:gd name="connsiteX4" fmla="*/ 0 w 4462462"/>
                <a:gd name="connsiteY4" fmla="*/ 3543300 h 4552950"/>
                <a:gd name="connsiteX5" fmla="*/ 3282950 w 4462462"/>
                <a:gd name="connsiteY5" fmla="*/ 2286000 h 4552950"/>
                <a:gd name="connsiteX6" fmla="*/ 0 w 4462462"/>
                <a:gd name="connsiteY6" fmla="*/ 1016000 h 4552950"/>
                <a:gd name="connsiteX7" fmla="*/ 0 w 4462462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82950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75807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57713"/>
                <a:gd name="connsiteX1" fmla="*/ 4462462 w 4462921"/>
                <a:gd name="connsiteY1" fmla="*/ 1819275 h 4557713"/>
                <a:gd name="connsiteX2" fmla="*/ 4462463 w 4462921"/>
                <a:gd name="connsiteY2" fmla="*/ 2747962 h 4557713"/>
                <a:gd name="connsiteX3" fmla="*/ 2381 w 4462921"/>
                <a:gd name="connsiteY3" fmla="*/ 4557713 h 4557713"/>
                <a:gd name="connsiteX4" fmla="*/ 0 w 4462921"/>
                <a:gd name="connsiteY4" fmla="*/ 3543300 h 4557713"/>
                <a:gd name="connsiteX5" fmla="*/ 3275807 w 4462921"/>
                <a:gd name="connsiteY5" fmla="*/ 2286000 h 4557713"/>
                <a:gd name="connsiteX6" fmla="*/ 0 w 4462921"/>
                <a:gd name="connsiteY6" fmla="*/ 1016000 h 4557713"/>
                <a:gd name="connsiteX7" fmla="*/ 0 w 4462921"/>
                <a:gd name="connsiteY7" fmla="*/ 0 h 4557713"/>
                <a:gd name="connsiteX0" fmla="*/ 0 w 4462921"/>
                <a:gd name="connsiteY0" fmla="*/ 0 h 4562475"/>
                <a:gd name="connsiteX1" fmla="*/ 4462462 w 4462921"/>
                <a:gd name="connsiteY1" fmla="*/ 1819275 h 4562475"/>
                <a:gd name="connsiteX2" fmla="*/ 4462463 w 4462921"/>
                <a:gd name="connsiteY2" fmla="*/ 2747962 h 4562475"/>
                <a:gd name="connsiteX3" fmla="*/ 2381 w 4462921"/>
                <a:gd name="connsiteY3" fmla="*/ 4562475 h 4562475"/>
                <a:gd name="connsiteX4" fmla="*/ 0 w 4462921"/>
                <a:gd name="connsiteY4" fmla="*/ 3543300 h 4562475"/>
                <a:gd name="connsiteX5" fmla="*/ 3275807 w 4462921"/>
                <a:gd name="connsiteY5" fmla="*/ 2286000 h 4562475"/>
                <a:gd name="connsiteX6" fmla="*/ 0 w 4462921"/>
                <a:gd name="connsiteY6" fmla="*/ 1016000 h 4562475"/>
                <a:gd name="connsiteX7" fmla="*/ 0 w 4462921"/>
                <a:gd name="connsiteY7" fmla="*/ 0 h 4562475"/>
                <a:gd name="connsiteX0" fmla="*/ 2486 w 4465407"/>
                <a:gd name="connsiteY0" fmla="*/ 0 h 4564856"/>
                <a:gd name="connsiteX1" fmla="*/ 4464948 w 4465407"/>
                <a:gd name="connsiteY1" fmla="*/ 1819275 h 4564856"/>
                <a:gd name="connsiteX2" fmla="*/ 4464949 w 4465407"/>
                <a:gd name="connsiteY2" fmla="*/ 2747962 h 4564856"/>
                <a:gd name="connsiteX3" fmla="*/ 105 w 4465407"/>
                <a:gd name="connsiteY3" fmla="*/ 4564856 h 4564856"/>
                <a:gd name="connsiteX4" fmla="*/ 2486 w 4465407"/>
                <a:gd name="connsiteY4" fmla="*/ 3543300 h 4564856"/>
                <a:gd name="connsiteX5" fmla="*/ 3278293 w 4465407"/>
                <a:gd name="connsiteY5" fmla="*/ 2286000 h 4564856"/>
                <a:gd name="connsiteX6" fmla="*/ 2486 w 4465407"/>
                <a:gd name="connsiteY6" fmla="*/ 1016000 h 4564856"/>
                <a:gd name="connsiteX7" fmla="*/ 2486 w 4465407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47962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0343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5106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16000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9275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64129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5066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18079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7262"/>
                <a:gd name="connsiteX1" fmla="*/ 4467527 w 4467986"/>
                <a:gd name="connsiteY1" fmla="*/ 1814537 h 4567262"/>
                <a:gd name="connsiteX2" fmla="*/ 4467529 w 4467986"/>
                <a:gd name="connsiteY2" fmla="*/ 2757512 h 4567262"/>
                <a:gd name="connsiteX3" fmla="*/ 2685 w 4467986"/>
                <a:gd name="connsiteY3" fmla="*/ 4567262 h 4567262"/>
                <a:gd name="connsiteX4" fmla="*/ 2684 w 4467986"/>
                <a:gd name="connsiteY4" fmla="*/ 3548087 h 4567262"/>
                <a:gd name="connsiteX5" fmla="*/ 3266585 w 4467986"/>
                <a:gd name="connsiteY5" fmla="*/ 2290788 h 4567262"/>
                <a:gd name="connsiteX6" fmla="*/ 2533 w 4467986"/>
                <a:gd name="connsiteY6" fmla="*/ 1025551 h 4567262"/>
                <a:gd name="connsiteX7" fmla="*/ 0 w 4467986"/>
                <a:gd name="connsiteY7" fmla="*/ 0 h 4567262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50493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57411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65956" h="4569668">
                  <a:moveTo>
                    <a:pt x="377" y="0"/>
                  </a:moveTo>
                  <a:lnTo>
                    <a:pt x="4465497" y="1816943"/>
                  </a:lnTo>
                  <a:cubicBezTo>
                    <a:pt x="4463910" y="2124918"/>
                    <a:pt x="4467086" y="2451943"/>
                    <a:pt x="4465499" y="2759918"/>
                  </a:cubicBezTo>
                  <a:lnTo>
                    <a:pt x="655" y="4569668"/>
                  </a:lnTo>
                  <a:cubicBezTo>
                    <a:pt x="-139" y="4230737"/>
                    <a:pt x="1448" y="3887042"/>
                    <a:pt x="654" y="3548111"/>
                  </a:cubicBezTo>
                  <a:lnTo>
                    <a:pt x="3257411" y="2293194"/>
                  </a:lnTo>
                  <a:lnTo>
                    <a:pt x="503" y="1027957"/>
                  </a:lnTo>
                  <a:cubicBezTo>
                    <a:pt x="-1186" y="686909"/>
                    <a:pt x="2066" y="341048"/>
                    <a:pt x="377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CA" sz="1800">
                <a:solidFill>
                  <a:srgbClr val="FFFFFF"/>
                </a:solidFill>
              </a:endParaRPr>
            </a:p>
          </p:txBody>
        </p:sp>
        <p:pic>
          <p:nvPicPr>
            <p:cNvPr id="33" name="Picture 10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01703" y="1523009"/>
              <a:ext cx="3074395" cy="251999"/>
            </a:xfrm>
            <a:prstGeom prst="rect">
              <a:avLst/>
            </a:prstGeom>
          </p:spPr>
        </p:pic>
      </p:grpSp>
      <p:graphicFrame>
        <p:nvGraphicFramePr>
          <p:cNvPr id="44" name="Objekt 4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65" name="think-cell Slide" r:id="rId11" imgW="0" imgH="0" progId="">
                  <p:embed/>
                </p:oleObj>
              </mc:Choice>
              <mc:Fallback>
                <p:oleObj name="think-cell Slide" r:id="rId11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 bwMode="auto">
          <a:xfrm>
            <a:off x="458788" y="848099"/>
            <a:ext cx="4113212" cy="9807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de-DE" sz="2800" i="0" dirty="0">
                <a:solidFill>
                  <a:schemeClr val="accent2"/>
                </a:solidFill>
                <a:latin typeface="Arial"/>
              </a:defRPr>
            </a:lvl1pPr>
          </a:lstStyle>
          <a:p>
            <a:pPr marL="0" lvl="0" indent="0">
              <a:lnSpc>
                <a:spcPct val="100000"/>
              </a:lnSpc>
              <a:buNone/>
            </a:pPr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 bwMode="auto">
          <a:xfrm>
            <a:off x="461963" y="1944076"/>
            <a:ext cx="4110037" cy="615553"/>
          </a:xfrm>
          <a:prstGeom prst="rect">
            <a:avLst/>
          </a:prstGeom>
          <a:ln w="9525"/>
        </p:spPr>
        <p:txBody>
          <a:bodyPr lIns="0" tIns="0" rIns="0" bIns="0">
            <a:noAutofit/>
          </a:bodyPr>
          <a:lstStyle>
            <a:lvl1pPr marL="0" indent="0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  <a:defRPr lang="de-DE" sz="200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grpSp>
        <p:nvGrpSpPr>
          <p:cNvPr id="34" name="Group 12"/>
          <p:cNvGrpSpPr/>
          <p:nvPr userDrawn="1"/>
        </p:nvGrpSpPr>
        <p:grpSpPr>
          <a:xfrm>
            <a:off x="469898" y="5753967"/>
            <a:ext cx="2183716" cy="635721"/>
            <a:chOff x="459321" y="5788818"/>
            <a:chExt cx="2183716" cy="635721"/>
          </a:xfrm>
        </p:grpSpPr>
        <p:pic>
          <p:nvPicPr>
            <p:cNvPr id="35" name="Picture 13"/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59321" y="6039743"/>
              <a:ext cx="2183716" cy="384796"/>
            </a:xfrm>
            <a:prstGeom prst="rect">
              <a:avLst/>
            </a:prstGeom>
          </p:spPr>
        </p:pic>
        <p:sp>
          <p:nvSpPr>
            <p:cNvPr id="36" name="Freeform 15"/>
            <p:cNvSpPr/>
            <p:nvPr/>
          </p:nvSpPr>
          <p:spPr>
            <a:xfrm>
              <a:off x="1741785" y="5788818"/>
              <a:ext cx="210221" cy="215102"/>
            </a:xfrm>
            <a:custGeom>
              <a:avLst/>
              <a:gdLst>
                <a:gd name="connsiteX0" fmla="*/ 0 w 4457700"/>
                <a:gd name="connsiteY0" fmla="*/ 0 h 4552950"/>
                <a:gd name="connsiteX1" fmla="*/ 4457700 w 4457700"/>
                <a:gd name="connsiteY1" fmla="*/ 1828800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24037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16893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62462"/>
                <a:gd name="connsiteY0" fmla="*/ 0 h 4552950"/>
                <a:gd name="connsiteX1" fmla="*/ 4462462 w 4462462"/>
                <a:gd name="connsiteY1" fmla="*/ 1819275 h 4552950"/>
                <a:gd name="connsiteX2" fmla="*/ 4457700 w 4462462"/>
                <a:gd name="connsiteY2" fmla="*/ 2743200 h 4552950"/>
                <a:gd name="connsiteX3" fmla="*/ 0 w 4462462"/>
                <a:gd name="connsiteY3" fmla="*/ 4552950 h 4552950"/>
                <a:gd name="connsiteX4" fmla="*/ 0 w 4462462"/>
                <a:gd name="connsiteY4" fmla="*/ 3543300 h 4552950"/>
                <a:gd name="connsiteX5" fmla="*/ 3282950 w 4462462"/>
                <a:gd name="connsiteY5" fmla="*/ 2286000 h 4552950"/>
                <a:gd name="connsiteX6" fmla="*/ 0 w 4462462"/>
                <a:gd name="connsiteY6" fmla="*/ 1016000 h 4552950"/>
                <a:gd name="connsiteX7" fmla="*/ 0 w 4462462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82950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75807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57713"/>
                <a:gd name="connsiteX1" fmla="*/ 4462462 w 4462921"/>
                <a:gd name="connsiteY1" fmla="*/ 1819275 h 4557713"/>
                <a:gd name="connsiteX2" fmla="*/ 4462463 w 4462921"/>
                <a:gd name="connsiteY2" fmla="*/ 2747962 h 4557713"/>
                <a:gd name="connsiteX3" fmla="*/ 2381 w 4462921"/>
                <a:gd name="connsiteY3" fmla="*/ 4557713 h 4557713"/>
                <a:gd name="connsiteX4" fmla="*/ 0 w 4462921"/>
                <a:gd name="connsiteY4" fmla="*/ 3543300 h 4557713"/>
                <a:gd name="connsiteX5" fmla="*/ 3275807 w 4462921"/>
                <a:gd name="connsiteY5" fmla="*/ 2286000 h 4557713"/>
                <a:gd name="connsiteX6" fmla="*/ 0 w 4462921"/>
                <a:gd name="connsiteY6" fmla="*/ 1016000 h 4557713"/>
                <a:gd name="connsiteX7" fmla="*/ 0 w 4462921"/>
                <a:gd name="connsiteY7" fmla="*/ 0 h 4557713"/>
                <a:gd name="connsiteX0" fmla="*/ 0 w 4462921"/>
                <a:gd name="connsiteY0" fmla="*/ 0 h 4562475"/>
                <a:gd name="connsiteX1" fmla="*/ 4462462 w 4462921"/>
                <a:gd name="connsiteY1" fmla="*/ 1819275 h 4562475"/>
                <a:gd name="connsiteX2" fmla="*/ 4462463 w 4462921"/>
                <a:gd name="connsiteY2" fmla="*/ 2747962 h 4562475"/>
                <a:gd name="connsiteX3" fmla="*/ 2381 w 4462921"/>
                <a:gd name="connsiteY3" fmla="*/ 4562475 h 4562475"/>
                <a:gd name="connsiteX4" fmla="*/ 0 w 4462921"/>
                <a:gd name="connsiteY4" fmla="*/ 3543300 h 4562475"/>
                <a:gd name="connsiteX5" fmla="*/ 3275807 w 4462921"/>
                <a:gd name="connsiteY5" fmla="*/ 2286000 h 4562475"/>
                <a:gd name="connsiteX6" fmla="*/ 0 w 4462921"/>
                <a:gd name="connsiteY6" fmla="*/ 1016000 h 4562475"/>
                <a:gd name="connsiteX7" fmla="*/ 0 w 4462921"/>
                <a:gd name="connsiteY7" fmla="*/ 0 h 4562475"/>
                <a:gd name="connsiteX0" fmla="*/ 2486 w 4465407"/>
                <a:gd name="connsiteY0" fmla="*/ 0 h 4564856"/>
                <a:gd name="connsiteX1" fmla="*/ 4464948 w 4465407"/>
                <a:gd name="connsiteY1" fmla="*/ 1819275 h 4564856"/>
                <a:gd name="connsiteX2" fmla="*/ 4464949 w 4465407"/>
                <a:gd name="connsiteY2" fmla="*/ 2747962 h 4564856"/>
                <a:gd name="connsiteX3" fmla="*/ 105 w 4465407"/>
                <a:gd name="connsiteY3" fmla="*/ 4564856 h 4564856"/>
                <a:gd name="connsiteX4" fmla="*/ 2486 w 4465407"/>
                <a:gd name="connsiteY4" fmla="*/ 3543300 h 4564856"/>
                <a:gd name="connsiteX5" fmla="*/ 3278293 w 4465407"/>
                <a:gd name="connsiteY5" fmla="*/ 2286000 h 4564856"/>
                <a:gd name="connsiteX6" fmla="*/ 2486 w 4465407"/>
                <a:gd name="connsiteY6" fmla="*/ 1016000 h 4564856"/>
                <a:gd name="connsiteX7" fmla="*/ 2486 w 4465407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47962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0343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5106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16000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9275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64129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5066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18079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7262"/>
                <a:gd name="connsiteX1" fmla="*/ 4467527 w 4467986"/>
                <a:gd name="connsiteY1" fmla="*/ 1814537 h 4567262"/>
                <a:gd name="connsiteX2" fmla="*/ 4467529 w 4467986"/>
                <a:gd name="connsiteY2" fmla="*/ 2757512 h 4567262"/>
                <a:gd name="connsiteX3" fmla="*/ 2685 w 4467986"/>
                <a:gd name="connsiteY3" fmla="*/ 4567262 h 4567262"/>
                <a:gd name="connsiteX4" fmla="*/ 2684 w 4467986"/>
                <a:gd name="connsiteY4" fmla="*/ 3548087 h 4567262"/>
                <a:gd name="connsiteX5" fmla="*/ 3266585 w 4467986"/>
                <a:gd name="connsiteY5" fmla="*/ 2290788 h 4567262"/>
                <a:gd name="connsiteX6" fmla="*/ 2533 w 4467986"/>
                <a:gd name="connsiteY6" fmla="*/ 1025551 h 4567262"/>
                <a:gd name="connsiteX7" fmla="*/ 0 w 4467986"/>
                <a:gd name="connsiteY7" fmla="*/ 0 h 4567262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50493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57411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65956" h="4569668">
                  <a:moveTo>
                    <a:pt x="377" y="0"/>
                  </a:moveTo>
                  <a:lnTo>
                    <a:pt x="4465497" y="1816943"/>
                  </a:lnTo>
                  <a:cubicBezTo>
                    <a:pt x="4463910" y="2124918"/>
                    <a:pt x="4467086" y="2451943"/>
                    <a:pt x="4465499" y="2759918"/>
                  </a:cubicBezTo>
                  <a:lnTo>
                    <a:pt x="655" y="4569668"/>
                  </a:lnTo>
                  <a:cubicBezTo>
                    <a:pt x="-139" y="4230737"/>
                    <a:pt x="1448" y="3887042"/>
                    <a:pt x="654" y="3548111"/>
                  </a:cubicBezTo>
                  <a:lnTo>
                    <a:pt x="3257411" y="2293194"/>
                  </a:lnTo>
                  <a:lnTo>
                    <a:pt x="503" y="1027957"/>
                  </a:lnTo>
                  <a:cubicBezTo>
                    <a:pt x="-1186" y="686909"/>
                    <a:pt x="2066" y="341048"/>
                    <a:pt x="377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CA" sz="180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66078019"/>
      </p:ext>
    </p:extLst>
  </p:cSld>
  <p:clrMapOvr>
    <a:masterClrMapping/>
  </p:clrMapOvr>
  <p:hf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-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68313" y="1640438"/>
            <a:ext cx="8207375" cy="474131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>
            <a:lvl1pPr marL="271463" indent="-2714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2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4500" indent="-173038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5475" indent="-180975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tabLst/>
              <a:defRPr lang="de-DE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9013" indent="-180975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Fünf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/>
          </a:p>
        </p:txBody>
      </p:sp>
      <p:sp>
        <p:nvSpPr>
          <p:cNvPr id="9" name="Textplatzhalter 2"/>
          <p:cNvSpPr>
            <a:spLocks noGrp="1"/>
          </p:cNvSpPr>
          <p:nvPr>
            <p:ph type="body" idx="13"/>
          </p:nvPr>
        </p:nvSpPr>
        <p:spPr>
          <a:xfrm>
            <a:off x="468313" y="1102301"/>
            <a:ext cx="8207375" cy="538138"/>
          </a:xfrm>
          <a:prstGeom prst="rect">
            <a:avLst/>
          </a:prstGeom>
          <a:noFill/>
        </p:spPr>
        <p:txBody>
          <a:bodyPr wrap="square" lIns="0" tIns="72000" rIns="0" bIns="36000">
            <a:noAutofit/>
          </a:bodyPr>
          <a:lstStyle>
            <a:lvl1pPr marL="0" indent="0">
              <a:buNone/>
              <a:defRPr lang="de-DE" sz="2000" b="1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176213" lvl="0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</a:pPr>
            <a:r>
              <a:rPr lang="en-US" noProof="0" dirty="0" err="1" smtClean="0"/>
              <a:t>Textmasterformate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20453863"/>
      </p:ext>
    </p:extLst>
  </p:cSld>
  <p:clrMapOvr>
    <a:masterClrMapping/>
  </p:clrMapOvr>
  <p:hf hd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2"/>
          <p:cNvSpPr>
            <a:spLocks noGrp="1"/>
          </p:cNvSpPr>
          <p:nvPr>
            <p:ph idx="1"/>
          </p:nvPr>
        </p:nvSpPr>
        <p:spPr>
          <a:xfrm>
            <a:off x="468313" y="1102301"/>
            <a:ext cx="8207375" cy="527945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0" numCol="1" anchor="t" anchorCtr="0" compatLnSpc="1">
            <a:prstTxWarp prst="textNoShape">
              <a:avLst/>
            </a:prstTxWarp>
          </a:bodyPr>
          <a:lstStyle>
            <a:lvl1pPr marL="271463" indent="-2714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2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9263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5475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2663" indent="-174625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Fünf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72758452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5" Type="http://schemas.openxmlformats.org/officeDocument/2006/relationships/slideLayout" Target="../slideLayouts/slideLayout11.xml"/><Relationship Id="rId4" Type="http://schemas.openxmlformats.org/officeDocument/2006/relationships/slideLayout" Target="../slideLayouts/slideLayout10.xml"/><Relationship Id="rId9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35220" y="0"/>
            <a:ext cx="8279423" cy="1044000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5221" y="1206003"/>
            <a:ext cx="8275803" cy="89255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16721" y="6679769"/>
            <a:ext cx="7342319" cy="2215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marL="0" marR="0" indent="0" algn="l" defTabSz="779163" rtl="0" eaLnBrk="0" fontAlgn="auto" latinLnBrk="0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 smtClean="0"/>
              <a:t>Copyright © 2015 Accenture  All Rights Reserved. Accenture, its logo, and High Performance Delivered. are trademarks of </a:t>
            </a:r>
            <a:r>
              <a:rPr lang="en-US" sz="1000" dirty="0" err="1" smtClean="0"/>
              <a:t>Accenture.</a:t>
            </a:r>
            <a:r>
              <a:rPr lang="en-US" sz="800" b="0" dirty="0" err="1" smtClean="0">
                <a:solidFill>
                  <a:schemeClr val="bg1"/>
                </a:solidFill>
              </a:rPr>
              <a:t>f</a:t>
            </a:r>
            <a:r>
              <a:rPr lang="en-US" sz="800" b="0" dirty="0" smtClean="0">
                <a:solidFill>
                  <a:schemeClr val="bg1"/>
                </a:solidFill>
              </a:rPr>
              <a:t> Accenture.</a:t>
            </a:r>
            <a:endParaRPr lang="en-US" sz="800" b="0" dirty="0">
              <a:solidFill>
                <a:schemeClr val="bg1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8244294" y="6632797"/>
            <a:ext cx="466728" cy="12311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9506F66D-3967-4DB8-9A18-525DE62AD90B}" type="slidenum">
              <a:rPr lang="en-US" sz="80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rPr>
              <a:pPr algn="r"/>
              <a:t>‹#›</a:t>
            </a:fld>
            <a:endParaRPr lang="en-US" sz="800" dirty="0">
              <a:solidFill>
                <a:schemeClr val="tx1">
                  <a:lumMod val="50000"/>
                  <a:lumOff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9" name="Straight Connector 8"/>
          <p:cNvCxnSpPr>
            <a:cxnSpLocks noChangeShapeType="1"/>
          </p:cNvCxnSpPr>
          <p:nvPr/>
        </p:nvCxnSpPr>
        <p:spPr bwMode="auto">
          <a:xfrm>
            <a:off x="435222" y="1112935"/>
            <a:ext cx="8708783" cy="0"/>
          </a:xfrm>
          <a:prstGeom prst="line">
            <a:avLst/>
          </a:prstGeom>
          <a:noFill/>
          <a:ln w="12700">
            <a:solidFill>
              <a:schemeClr val="bg1">
                <a:lumMod val="65000"/>
              </a:schemeClr>
            </a:solidFill>
            <a:round/>
            <a:headEnd/>
            <a:tailEnd/>
          </a:ln>
        </p:spPr>
      </p:cxnSp>
    </p:spTree>
    <p:extLst>
      <p:ext uri="{BB962C8B-B14F-4D97-AF65-F5344CB8AC3E}">
        <p14:creationId xmlns:p14="http://schemas.microsoft.com/office/powerpoint/2010/main" val="40731579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0" r:id="rId3"/>
    <p:sldLayoutId id="2147483661" r:id="rId4"/>
    <p:sldLayoutId id="2147483662" r:id="rId5"/>
    <p:sldLayoutId id="2147483663" r:id="rId6"/>
  </p:sldLayoutIdLst>
  <p:timing>
    <p:tnLst>
      <p:par>
        <p:cTn id="1" dur="indefinite" restart="never" nodeType="tmRoot"/>
      </p:par>
    </p:tnLst>
  </p:timing>
  <p:txStyles>
    <p:titleStyle>
      <a:lvl1pPr algn="l" defTabSz="779163" rtl="0" eaLnBrk="1" latinLnBrk="0" hangingPunct="1">
        <a:spcBef>
          <a:spcPct val="0"/>
        </a:spcBef>
        <a:buNone/>
        <a:defRPr sz="2200" kern="1200">
          <a:solidFill>
            <a:srgbClr val="002060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180975" indent="-180975" algn="l" defTabSz="779163" rtl="0" eaLnBrk="1" latinLnBrk="0" hangingPunct="1">
        <a:spcBef>
          <a:spcPts val="1200"/>
        </a:spcBef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61950" indent="-180975" algn="l" defTabSz="779163" rtl="0" eaLnBrk="1" latinLnBrk="0" hangingPunct="1">
        <a:spcBef>
          <a:spcPts val="600"/>
        </a:spcBef>
        <a:buFont typeface="Arial" pitchFamily="34" charset="0"/>
        <a:buChar char="−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542925" indent="-180975" algn="l" defTabSz="779163" rtl="0" eaLnBrk="1" latinLnBrk="0" hangingPunct="1">
        <a:spcBef>
          <a:spcPts val="600"/>
        </a:spcBef>
        <a:buFont typeface="Arial" pitchFamily="34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363534" indent="-194791" algn="l" defTabSz="779163" rtl="0" eaLnBrk="1" latinLnBrk="0" hangingPunct="1">
        <a:spcBef>
          <a:spcPct val="20000"/>
        </a:spcBef>
        <a:buFont typeface="Arial" pitchFamily="34" charset="0"/>
        <a:buChar char="–"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53117" indent="-194791" algn="l" defTabSz="779163" rtl="0" eaLnBrk="1" latinLnBrk="0" hangingPunct="1">
        <a:spcBef>
          <a:spcPct val="20000"/>
        </a:spcBef>
        <a:buFont typeface="Arial" pitchFamily="34" charset="0"/>
        <a:buChar char="»"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142698" indent="-194791" algn="l" defTabSz="779163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32280" indent="-194791" algn="l" defTabSz="779163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21861" indent="-194791" algn="l" defTabSz="779163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11443" indent="-194791" algn="l" defTabSz="779163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82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163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745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326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908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489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7071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652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platzhalter 11"/>
          <p:cNvSpPr>
            <a:spLocks noGrp="1"/>
          </p:cNvSpPr>
          <p:nvPr>
            <p:ph type="title"/>
          </p:nvPr>
        </p:nvSpPr>
        <p:spPr bwMode="auto">
          <a:xfrm>
            <a:off x="468313" y="1"/>
            <a:ext cx="8203443" cy="110229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72000" numCol="1" anchor="b" anchorCtr="0" compatLnSpc="1">
            <a:prstTxWarp prst="textNoShape">
              <a:avLst/>
            </a:prstTxWarp>
            <a:noAutofit/>
          </a:bodyPr>
          <a:lstStyle/>
          <a:p>
            <a:r>
              <a:rPr lang="en-US" noProof="0" dirty="0" err="1" smtClean="0"/>
              <a:t>Titelmasterformat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/>
          </a:p>
        </p:txBody>
      </p:sp>
      <p:sp>
        <p:nvSpPr>
          <p:cNvPr id="11" name="AMC_Footer"/>
          <p:cNvSpPr txBox="1">
            <a:spLocks/>
          </p:cNvSpPr>
          <p:nvPr/>
        </p:nvSpPr>
        <p:spPr>
          <a:xfrm>
            <a:off x="468313" y="6569075"/>
            <a:ext cx="6191919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>
              <a:defRPr/>
            </a:pPr>
            <a:r>
              <a:rPr lang="en-US" sz="800" dirty="0" smtClean="0">
                <a:solidFill>
                  <a:prstClr val="black"/>
                </a:solidFill>
                <a:cs typeface="Arial" pitchFamily="34" charset="0"/>
              </a:rPr>
              <a:t>Copyright © </a:t>
            </a:r>
            <a:r>
              <a:rPr lang="en-US" sz="800" dirty="0" smtClean="0">
                <a:solidFill>
                  <a:srgbClr val="000000"/>
                </a:solidFill>
                <a:cs typeface="Arial" pitchFamily="34" charset="0"/>
              </a:rPr>
              <a:t>2012</a:t>
            </a:r>
            <a:r>
              <a:rPr lang="en-US" sz="800" dirty="0" smtClean="0">
                <a:solidFill>
                  <a:prstClr val="black"/>
                </a:solidFill>
                <a:cs typeface="Arial" pitchFamily="34" charset="0"/>
              </a:rPr>
              <a:t> Accenture. All rights reserved.</a:t>
            </a:r>
            <a:endParaRPr lang="en-US" sz="800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3" name="Inhaltsplatzhalter 13"/>
          <p:cNvSpPr txBox="1">
            <a:spLocks/>
          </p:cNvSpPr>
          <p:nvPr/>
        </p:nvSpPr>
        <p:spPr>
          <a:xfrm>
            <a:off x="8275017" y="6569075"/>
            <a:ext cx="396739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algn="r">
              <a:defRPr/>
            </a:pPr>
            <a:fld id="{EB578BD5-E3A8-4354-91BC-79CE4598B8D1}" type="slidenum">
              <a:rPr lang="en-US" sz="800" smtClean="0">
                <a:solidFill>
                  <a:prstClr val="black"/>
                </a:solidFill>
                <a:cs typeface="Arial" pitchFamily="34" charset="0"/>
              </a:rPr>
              <a:pPr algn="r">
                <a:defRPr/>
              </a:pPr>
              <a:t>‹#›</a:t>
            </a:fld>
            <a:endParaRPr lang="en-US" sz="800">
              <a:solidFill>
                <a:prstClr val="black"/>
              </a:solidFill>
              <a:cs typeface="Arial" pitchFamily="34" charset="0"/>
            </a:endParaRPr>
          </a:p>
        </p:txBody>
      </p:sp>
      <p:cxnSp>
        <p:nvCxnSpPr>
          <p:cNvPr id="7" name="Straight Connector 6"/>
          <p:cNvCxnSpPr/>
          <p:nvPr/>
        </p:nvCxnSpPr>
        <p:spPr bwMode="auto">
          <a:xfrm>
            <a:off x="468313" y="1102300"/>
            <a:ext cx="8675687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069705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  <p:sldLayoutId id="2147483672" r:id="rId8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de-DE" sz="2400" b="1" kern="1200" dirty="0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9pPr>
    </p:titleStyle>
    <p:bodyStyle>
      <a:lvl1pPr marL="174625" indent="-174625" algn="l" rtl="0" eaLnBrk="0" fontAlgn="base" hangingPunct="0">
        <a:spcBef>
          <a:spcPts val="300"/>
        </a:spcBef>
        <a:spcAft>
          <a:spcPts val="30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3538" indent="-188913" algn="l" rtl="0" eaLnBrk="0" fontAlgn="base" hangingPunct="0">
        <a:spcBef>
          <a:spcPts val="300"/>
        </a:spcBef>
        <a:spcAft>
          <a:spcPts val="300"/>
        </a:spcAft>
        <a:buFont typeface="Arial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8163" indent="-174625" algn="l" rtl="0" eaLnBrk="0" fontAlgn="base" hangingPunct="0">
        <a:spcBef>
          <a:spcPts val="300"/>
        </a:spcBef>
        <a:spcAft>
          <a:spcPts val="300"/>
        </a:spcAft>
        <a:buFont typeface="Arial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712788" indent="-174625" algn="l" rtl="0" eaLnBrk="0" fontAlgn="base" hangingPunct="0">
        <a:spcBef>
          <a:spcPts val="300"/>
        </a:spcBef>
        <a:spcAft>
          <a:spcPts val="300"/>
        </a:spcAft>
        <a:buFont typeface="Arial" charset="0"/>
        <a:buChar char="–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901700" indent="-188913" algn="l" rtl="0" eaLnBrk="0" fontAlgn="base" hangingPunct="0">
        <a:spcBef>
          <a:spcPts val="300"/>
        </a:spcBef>
        <a:spcAft>
          <a:spcPts val="300"/>
        </a:spcAft>
        <a:buFont typeface="Arial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#RANGE!A87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2.wmf"/><Relationship Id="rId5" Type="http://schemas.openxmlformats.org/officeDocument/2006/relationships/package" Target="../embeddings/Microsoft_Excel_Worksheet3.xlsx"/><Relationship Id="rId4" Type="http://schemas.openxmlformats.org/officeDocument/2006/relationships/hyperlink" Target="#RANGE!A1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.xml"/><Relationship Id="rId3" Type="http://schemas.openxmlformats.org/officeDocument/2006/relationships/diagramLayout" Target="../diagrams/layout1.xml"/><Relationship Id="rId7" Type="http://schemas.openxmlformats.org/officeDocument/2006/relationships/diagramData" Target="../diagrams/data2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11" Type="http://schemas.microsoft.com/office/2007/relationships/diagramDrawing" Target="../diagrams/drawing2.xml"/><Relationship Id="rId5" Type="http://schemas.openxmlformats.org/officeDocument/2006/relationships/diagramColors" Target="../diagrams/colors1.xml"/><Relationship Id="rId10" Type="http://schemas.openxmlformats.org/officeDocument/2006/relationships/diagramColors" Target="../diagrams/colors2.xml"/><Relationship Id="rId4" Type="http://schemas.openxmlformats.org/officeDocument/2006/relationships/diagramQuickStyle" Target="../diagrams/quickStyle1.xml"/><Relationship Id="rId9" Type="http://schemas.openxmlformats.org/officeDocument/2006/relationships/diagramQuickStyle" Target="../diagrams/quickStyl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1.xml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7.vml"/><Relationship Id="rId4" Type="http://schemas.openxmlformats.org/officeDocument/2006/relationships/image" Target="../media/image10.wmf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2.xml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8.vml"/><Relationship Id="rId4" Type="http://schemas.openxmlformats.org/officeDocument/2006/relationships/image" Target="../media/image11.wmf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3.xml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3"/>
          <p:cNvSpPr txBox="1">
            <a:spLocks noChangeArrowheads="1"/>
          </p:cNvSpPr>
          <p:nvPr/>
        </p:nvSpPr>
        <p:spPr>
          <a:xfrm>
            <a:off x="336416" y="939146"/>
            <a:ext cx="8319210" cy="3975754"/>
          </a:xfrm>
          <a:prstGeom prst="rect">
            <a:avLst/>
          </a:prstGeom>
        </p:spPr>
        <p:txBody>
          <a:bodyPr>
            <a:normAutofit/>
          </a:bodyPr>
          <a:lstStyle>
            <a:lvl1pPr marL="174625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3538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2788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400" eaLnBrk="1" hangingPunct="1">
              <a:buFont typeface="Arial" charset="0"/>
              <a:buNone/>
            </a:pPr>
            <a:endParaRPr lang="pt-BR" sz="2000" b="1" dirty="0" smtClean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0" indent="0" defTabSz="914400" eaLnBrk="1" hangingPunct="1">
              <a:buFont typeface="Arial" charset="0"/>
              <a:buNone/>
            </a:pPr>
            <a:r>
              <a:rPr lang="pt-BR" sz="2800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Multiprodutos</a:t>
            </a:r>
          </a:p>
          <a:p>
            <a:pPr marL="0" indent="0" algn="ctr" defTabSz="914400" eaLnBrk="1" hangingPunct="1">
              <a:buFont typeface="Arial" charset="0"/>
              <a:buNone/>
            </a:pPr>
            <a:endParaRPr lang="pt-BR" sz="2000" b="1" dirty="0" smtClean="0">
              <a:solidFill>
                <a:srgbClr val="FFFFFF"/>
              </a:solidFill>
            </a:endParaRPr>
          </a:p>
          <a:p>
            <a:pPr marL="0" indent="0" algn="ctr" defTabSz="914400" eaLnBrk="1" hangingPunct="1">
              <a:buFont typeface="Arial" charset="0"/>
              <a:buNone/>
            </a:pPr>
            <a:endParaRPr lang="pt-BR" sz="2000" b="1" dirty="0" smtClean="0">
              <a:solidFill>
                <a:srgbClr val="FFFFFF"/>
              </a:solidFill>
            </a:endParaRPr>
          </a:p>
          <a:p>
            <a:pPr marL="0" indent="0" algn="ctr" defTabSz="914400" eaLnBrk="1" hangingPunct="1">
              <a:buFont typeface="Arial" charset="0"/>
              <a:buNone/>
            </a:pPr>
            <a:endParaRPr lang="pt-BR" sz="2000" b="1" dirty="0" smtClean="0">
              <a:solidFill>
                <a:srgbClr val="FFFFFF"/>
              </a:solidFill>
            </a:endParaRPr>
          </a:p>
          <a:p>
            <a:pPr marL="0" indent="0" algn="ctr" defTabSz="914400" eaLnBrk="1" hangingPunct="1">
              <a:buFont typeface="Arial" charset="0"/>
              <a:buNone/>
            </a:pPr>
            <a:endParaRPr lang="pt-BR" sz="2000" b="1" dirty="0" smtClean="0">
              <a:solidFill>
                <a:srgbClr val="FFFFFF"/>
              </a:solidFill>
            </a:endParaRPr>
          </a:p>
          <a:p>
            <a:pPr marL="0" indent="0" algn="ctr" defTabSz="914400" eaLnBrk="1" hangingPunct="1">
              <a:buFont typeface="Arial" charset="0"/>
              <a:buNone/>
            </a:pPr>
            <a:endParaRPr lang="pt-BR" sz="2000" b="1" dirty="0" smtClean="0">
              <a:solidFill>
                <a:srgbClr val="FFFFFF"/>
              </a:solidFill>
            </a:endParaRPr>
          </a:p>
          <a:p>
            <a:pPr marL="0" indent="0" algn="ctr" defTabSz="914400" eaLnBrk="1" hangingPunct="1">
              <a:buFont typeface="Arial" charset="0"/>
              <a:buNone/>
            </a:pPr>
            <a:r>
              <a:rPr lang="pt-BR" sz="2000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RBOR</a:t>
            </a:r>
          </a:p>
          <a:p>
            <a:pPr marL="0" indent="0" algn="ctr" defTabSz="914400" eaLnBrk="1" hangingPunct="1">
              <a:buFont typeface="Arial" charset="0"/>
              <a:buNone/>
            </a:pPr>
            <a:r>
              <a:rPr lang="pt-BR" sz="2000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Novembro/2015</a:t>
            </a:r>
            <a:endParaRPr lang="pt-BR" sz="2000" b="1" dirty="0" smtClean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0" indent="0" defTabSz="914400" eaLnBrk="1" hangingPunct="1">
              <a:buFontTx/>
              <a:buNone/>
            </a:pPr>
            <a:endParaRPr lang="pt-BR" sz="1800" b="1" dirty="0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96835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>
                <a:solidFill>
                  <a:schemeClr val="tx2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OS MÓD. DE CONFIGURAÇÃO 2P, 3P e 4P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5221" y="1206003"/>
            <a:ext cx="8275803" cy="246221"/>
          </a:xfrm>
        </p:spPr>
        <p:txBody>
          <a:bodyPr/>
          <a:lstStyle/>
          <a:p>
            <a:pPr marL="0" indent="0">
              <a:buNone/>
            </a:pPr>
            <a:r>
              <a:rPr lang="en-US" dirty="0" err="1" smtClean="0"/>
              <a:t>Estrutura</a:t>
            </a:r>
            <a:r>
              <a:rPr lang="en-US" dirty="0" smtClean="0"/>
              <a:t> de 4P</a:t>
            </a:r>
            <a:endParaRPr lang="en-US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24725770"/>
              </p:ext>
            </p:extLst>
          </p:nvPr>
        </p:nvGraphicFramePr>
        <p:xfrm>
          <a:off x="435220" y="1419861"/>
          <a:ext cx="7954401" cy="415059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15502"/>
                <a:gridCol w="1105040"/>
                <a:gridCol w="2150022"/>
                <a:gridCol w="4083837"/>
              </a:tblGrid>
              <a:tr h="67711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u="none" strike="noStrike" dirty="0" err="1">
                          <a:effectLst/>
                        </a:rPr>
                        <a:t>Nível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13" marR="1213" marT="1213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u="none" strike="noStrike">
                          <a:effectLst/>
                        </a:rPr>
                        <a:t>Produto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13" marR="1213" marT="1213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u="none" strike="noStrike">
                          <a:effectLst/>
                        </a:rPr>
                        <a:t>Nome do Pacote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13" marR="1213" marT="1213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u="none" strike="noStrike" dirty="0">
                          <a:effectLst/>
                        </a:rPr>
                        <a:t>Nome do </a:t>
                      </a:r>
                      <a:r>
                        <a:rPr lang="en-US" sz="900" b="1" u="none" strike="noStrike" dirty="0" err="1">
                          <a:effectLst/>
                        </a:rPr>
                        <a:t>component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13" marR="1213" marT="1213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</a:tr>
              <a:tr h="67711"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 dirty="0" err="1">
                          <a:effectLst/>
                        </a:rPr>
                        <a:t>Instância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13" marR="1213" marT="1213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4"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>
                          <a:effectLst/>
                        </a:rPr>
                        <a:t>Guia de usos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13" marR="1213" marT="1213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pt-BR" sz="900" u="none" strike="noStrike">
                          <a:effectLst/>
                        </a:rPr>
                        <a:t>Pode ser:</a:t>
                      </a:r>
                      <a:br>
                        <a:rPr lang="pt-BR" sz="900" u="none" strike="noStrike">
                          <a:effectLst/>
                        </a:rPr>
                      </a:br>
                      <a:r>
                        <a:rPr lang="pt-BR" sz="900" u="none" strike="noStrike">
                          <a:effectLst/>
                        </a:rPr>
                        <a:t>Pacote Guia de Usos - Conta Total</a:t>
                      </a:r>
                      <a:br>
                        <a:rPr lang="pt-BR" sz="900" u="none" strike="noStrike">
                          <a:effectLst/>
                        </a:rPr>
                      </a:br>
                      <a:r>
                        <a:rPr lang="pt-BR" sz="900" u="none" strike="noStrike">
                          <a:effectLst/>
                        </a:rPr>
                        <a:t>ou</a:t>
                      </a:r>
                      <a:br>
                        <a:rPr lang="pt-BR" sz="900" u="none" strike="noStrike">
                          <a:effectLst/>
                        </a:rPr>
                      </a:br>
                      <a:r>
                        <a:rPr lang="pt-BR" sz="900" u="none" strike="noStrike">
                          <a:effectLst/>
                        </a:rPr>
                        <a:t>Pacote Guia de Usos - Conta Total XX</a:t>
                      </a:r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13" marR="1213" marT="1213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900" u="none" strike="noStrike">
                          <a:effectLst/>
                        </a:rPr>
                        <a:t>Guia de Uso Voz - Conta Total</a:t>
                      </a:r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13" marR="1213" marT="1213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7711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900" u="none" strike="noStrike">
                          <a:effectLst/>
                        </a:rPr>
                        <a:t>Guia de Uso Caixa Postal - Conta Total</a:t>
                      </a:r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13" marR="1213" marT="1213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7711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900" u="none" strike="noStrike">
                          <a:effectLst/>
                        </a:rPr>
                        <a:t>Guia de Uso SMS - Conta Total</a:t>
                      </a:r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13" marR="1213" marT="1213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383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900" u="none" strike="noStrike" dirty="0">
                          <a:effectLst/>
                        </a:rPr>
                        <a:t>Guia de Uso Favoritos - Conta Total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13" marR="1213" marT="1213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11738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Conta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13" marR="1213" marT="1213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>
                          <a:effectLst/>
                        </a:rPr>
                        <a:t>TV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13" marR="1213" marT="1213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>
                          <a:effectLst/>
                        </a:rPr>
                        <a:t>Oi TV                                                       UF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13" marR="1213" marT="1213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>
                          <a:effectLst/>
                        </a:rPr>
                        <a:t>Ver Pacotes TV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13" marR="1213" marT="1213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7711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Conta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13" marR="1213" marT="1213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>
                          <a:effectLst/>
                        </a:rPr>
                        <a:t>Assinatura do Fixo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13" marR="1213" marT="1213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Oi Fixo                                                     UF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13" marR="1213" marT="1213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>
                          <a:effectLst/>
                        </a:rPr>
                        <a:t>Assinatura Oi Fixo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13" marR="1213" marT="1213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7711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900" u="none" strike="noStrike">
                          <a:effectLst/>
                        </a:rPr>
                        <a:t>Ligações locais do seu Fixo</a:t>
                      </a:r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13" marR="1213" marT="1213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7711">
                <a:tc rowSpan="6"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Conta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13" marR="1213" marT="1213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8"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Móvel com dados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13" marR="1213" marT="1213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6">
                  <a:txBody>
                    <a:bodyPr/>
                    <a:lstStyle/>
                    <a:p>
                      <a:pPr algn="ctr" fontAlgn="ctr"/>
                      <a:r>
                        <a:rPr lang="pt-BR" sz="900" u="none" strike="noStrike">
                          <a:effectLst/>
                        </a:rPr>
                        <a:t>Oi Conta Total Smartphone XX RJ</a:t>
                      </a:r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13" marR="1213" marT="1213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900" u="none" strike="noStrike">
                          <a:effectLst/>
                        </a:rPr>
                        <a:t>*** MB em internet móvel pra celular</a:t>
                      </a:r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13" marR="1213" marT="1213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7711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>
                          <a:effectLst/>
                        </a:rPr>
                        <a:t>Assinatura Oi Móvel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13" marR="1213" marT="1213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1173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900" u="none" strike="noStrike">
                          <a:effectLst/>
                        </a:rPr>
                        <a:t>xx min para usar do fixo e celulares em lig locais pra outras operadoras</a:t>
                      </a:r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13" marR="1213" marT="1213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7711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900" u="none" strike="noStrike">
                          <a:effectLst/>
                        </a:rPr>
                        <a:t>Franquia ON-NET e Fixo sem rollover</a:t>
                      </a:r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13" marR="1213" marT="1213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7711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13" marR="1213" marT="1213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5201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900" u="none" strike="noStrike">
                          <a:effectLst/>
                        </a:rPr>
                        <a:t>Franquia Off-net sem rollover XX minutos</a:t>
                      </a:r>
                      <a:br>
                        <a:rPr lang="pt-BR" sz="900" u="none" strike="noStrike">
                          <a:effectLst/>
                        </a:rPr>
                      </a:br>
                      <a:r>
                        <a:rPr lang="pt-BR" sz="900" u="none" strike="noStrike">
                          <a:effectLst/>
                        </a:rPr>
                        <a:t>OU</a:t>
                      </a:r>
                      <a:br>
                        <a:rPr lang="pt-BR" sz="900" u="none" strike="noStrike">
                          <a:effectLst/>
                        </a:rPr>
                      </a:br>
                      <a:r>
                        <a:rPr lang="pt-BR" sz="900" u="none" strike="noStrike">
                          <a:effectLst/>
                        </a:rPr>
                        <a:t>Franquia Off-net com rollover XX minutos</a:t>
                      </a:r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13" marR="1213" marT="1213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7711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Instância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13" marR="1213" marT="1213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pt-BR" sz="900" u="none" strike="noStrike">
                          <a:effectLst/>
                        </a:rPr>
                        <a:t>Pacote Guia de Usos Dados</a:t>
                      </a:r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13" marR="1213" marT="1213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>
                          <a:effectLst/>
                        </a:rPr>
                        <a:t>Grupo de Uso Dados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13" marR="1213" marT="1213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7711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900" u="none" strike="noStrike">
                          <a:effectLst/>
                        </a:rPr>
                        <a:t>Grupo de Uso Dados (usos 3G) </a:t>
                      </a:r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13" marR="1213" marT="1213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7711">
                <a:tc gridSpan="4">
                  <a:txBody>
                    <a:bodyPr/>
                    <a:lstStyle/>
                    <a:p>
                      <a:pPr algn="l" fontAlgn="ctr"/>
                      <a:endParaRPr lang="en-US" sz="9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13" marR="1213" marT="1213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900" b="1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13" marR="1213" marT="1213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en-US" sz="9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13" marR="1213" marT="1213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7711"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Conta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13" marR="1213" marT="1213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6"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Móvel sem dados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13" marR="1213" marT="1213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5">
                  <a:txBody>
                    <a:bodyPr/>
                    <a:lstStyle/>
                    <a:p>
                      <a:pPr algn="ctr" fontAlgn="ctr"/>
                      <a:r>
                        <a:rPr lang="pt-BR" sz="900" u="none" strike="noStrike" dirty="0">
                          <a:effectLst/>
                        </a:rPr>
                        <a:t>Pode ser:</a:t>
                      </a:r>
                      <a:br>
                        <a:rPr lang="pt-BR" sz="900" u="none" strike="noStrike" dirty="0">
                          <a:effectLst/>
                        </a:rPr>
                      </a:br>
                      <a:r>
                        <a:rPr lang="pt-BR" sz="900" u="none" strike="noStrike" dirty="0">
                          <a:effectLst/>
                        </a:rPr>
                        <a:t>Oi Total Fixo + Pós + Banda Larga                           UF</a:t>
                      </a:r>
                      <a:br>
                        <a:rPr lang="pt-BR" sz="900" u="none" strike="noStrike" dirty="0">
                          <a:effectLst/>
                        </a:rPr>
                      </a:br>
                      <a:r>
                        <a:rPr lang="pt-BR" sz="900" u="none" strike="noStrike" dirty="0">
                          <a:effectLst/>
                        </a:rPr>
                        <a:t>ou</a:t>
                      </a:r>
                      <a:br>
                        <a:rPr lang="pt-BR" sz="900" u="none" strike="noStrike" dirty="0">
                          <a:effectLst/>
                        </a:rPr>
                      </a:br>
                      <a:r>
                        <a:rPr lang="pt-BR" sz="900" u="none" strike="noStrike" dirty="0">
                          <a:effectLst/>
                        </a:rPr>
                        <a:t>Oi Total Fixo + Pós XX + Banda Larga                        UF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13" marR="1213" marT="1213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 dirty="0" err="1">
                          <a:effectLst/>
                        </a:rPr>
                        <a:t>Assinatura</a:t>
                      </a:r>
                      <a:r>
                        <a:rPr lang="en-US" sz="900" u="none" strike="noStrike" dirty="0">
                          <a:effectLst/>
                        </a:rPr>
                        <a:t> Oi </a:t>
                      </a:r>
                      <a:r>
                        <a:rPr lang="en-US" sz="900" u="none" strike="noStrike" dirty="0" err="1">
                          <a:effectLst/>
                        </a:rPr>
                        <a:t>Móvel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13" marR="1213" marT="1213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1173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900" u="none" strike="noStrike">
                          <a:effectLst/>
                        </a:rPr>
                        <a:t>xx min para usar do fixo e celulares em lig locais pra outras operadoras</a:t>
                      </a:r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13" marR="1213" marT="1213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7711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900" u="none" strike="noStrike">
                          <a:effectLst/>
                        </a:rPr>
                        <a:t>Franquia ON-NET e Fixo sem rollover</a:t>
                      </a:r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13" marR="1213" marT="1213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5201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l" fontAlgn="ctr"/>
                      <a:r>
                        <a:rPr lang="pt-BR" sz="900" u="none" strike="noStrike">
                          <a:effectLst/>
                        </a:rPr>
                        <a:t>Franquia Off-net sem rollover XX minutos</a:t>
                      </a:r>
                      <a:br>
                        <a:rPr lang="pt-BR" sz="900" u="none" strike="noStrike">
                          <a:effectLst/>
                        </a:rPr>
                      </a:br>
                      <a:r>
                        <a:rPr lang="pt-BR" sz="900" u="none" strike="noStrike">
                          <a:effectLst/>
                        </a:rPr>
                        <a:t>OU</a:t>
                      </a:r>
                      <a:br>
                        <a:rPr lang="pt-BR" sz="900" u="none" strike="noStrike">
                          <a:effectLst/>
                        </a:rPr>
                      </a:br>
                      <a:r>
                        <a:rPr lang="pt-BR" sz="900" u="none" strike="noStrike">
                          <a:effectLst/>
                        </a:rPr>
                        <a:t>Franquia Off-net com rollover XX minutos</a:t>
                      </a:r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13" marR="1213" marT="1213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90980">
                <a:tc rowSpan="2"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Instância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13" marR="1213" marT="1213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900" b="0" i="0" u="sng" strike="noStrike" dirty="0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13" marR="1213" marT="1213" marB="0" anchor="ctr"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13" marR="1213" marT="1213" marB="0" anchor="ctr"/>
                </a:tc>
              </a:tr>
              <a:tr h="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3" action="ppaction://hlinkfile"/>
                        </a:rPr>
                        <a:t>Opção</a:t>
                      </a:r>
                      <a:r>
                        <a:rPr lang="en-US" sz="9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3" action="ppaction://hlinkfile"/>
                        </a:rPr>
                        <a:t> de Dados</a:t>
                      </a:r>
                      <a:endParaRPr lang="en-US" sz="9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3" marR="1213" marT="1213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Componente de Dados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13" marR="1213" marT="1213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1173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Instância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13" marR="1213" marT="1213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>
                          <a:effectLst/>
                        </a:rPr>
                        <a:t>Mini-Modem</a:t>
                      </a:r>
                      <a:br>
                        <a:rPr lang="en-US" sz="900" u="none" strike="noStrike">
                          <a:effectLst/>
                        </a:rPr>
                      </a:br>
                      <a:r>
                        <a:rPr lang="en-US" sz="900" u="none" strike="noStrike">
                          <a:effectLst/>
                        </a:rPr>
                        <a:t>Substituto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13" marR="1213" marT="1213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Oi Internet Móvel</a:t>
                      </a:r>
                      <a:br>
                        <a:rPr lang="en-US" sz="900" u="none" strike="noStrike">
                          <a:effectLst/>
                        </a:rPr>
                      </a:br>
                      <a:r>
                        <a:rPr lang="en-US" sz="900" u="none" strike="noStrike">
                          <a:effectLst/>
                        </a:rPr>
                        <a:t>(Package_id = 21438)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13" marR="1213" marT="1213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u="sng" strike="noStrike" dirty="0">
                          <a:effectLst/>
                          <a:hlinkClick r:id="rId4" action="ppaction://hlinkfile"/>
                        </a:rPr>
                        <a:t>*Depende da franquia, ver aba 3G Substituto</a:t>
                      </a:r>
                      <a:endParaRPr lang="pt-BR" sz="900" b="0" i="0" u="sng" strike="noStrike" dirty="0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13" marR="1213" marT="1213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7711">
                <a:tc gridSpan="4">
                  <a:txBody>
                    <a:bodyPr/>
                    <a:lstStyle/>
                    <a:p>
                      <a:pPr algn="l" fontAlgn="ctr"/>
                      <a:endParaRPr lang="en-US" sz="9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13" marR="1213" marT="1213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900" b="1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13" marR="1213" marT="1213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en-US" sz="9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13" marR="1213" marT="1213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Conta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13" marR="1213" marT="1213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>
                          <a:effectLst/>
                        </a:rPr>
                        <a:t>Velox ADSL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13" marR="1213" marT="1213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Oi Velox                                                    UF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13" marR="1213" marT="1213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 dirty="0" err="1">
                          <a:effectLst/>
                        </a:rPr>
                        <a:t>Assinatura</a:t>
                      </a:r>
                      <a:r>
                        <a:rPr lang="en-US" sz="900" u="none" strike="noStrike" dirty="0">
                          <a:effectLst/>
                        </a:rPr>
                        <a:t> Oi Velox XX ZZ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13" marR="1213" marT="1213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graphicFrame>
        <p:nvGraphicFramePr>
          <p:cNvPr id="6" name="Object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569605462"/>
              </p:ext>
            </p:extLst>
          </p:nvPr>
        </p:nvGraphicFramePr>
        <p:xfrm>
          <a:off x="3955220" y="5692919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38" name="Worksheet" showAsIcon="1" r:id="rId5" imgW="914400" imgH="771480" progId="Excel.Sheet.12">
                  <p:embed/>
                </p:oleObj>
              </mc:Choice>
              <mc:Fallback>
                <p:oleObj name="Worksheet" showAsIcon="1" r:id="rId5" imgW="914400" imgH="77148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955220" y="5692919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>
          <a:xfrm>
            <a:off x="2015776" y="6248357"/>
            <a:ext cx="479329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pt-BR" sz="1600" dirty="0" smtClean="0">
                <a:latin typeface="Arial" pitchFamily="34" charset="0"/>
                <a:cs typeface="Arial" pitchFamily="34" charset="0"/>
              </a:rPr>
              <a:t>Lista de todos os pacotes e Componentes para 4P</a:t>
            </a:r>
            <a:endParaRPr lang="pt-BR" sz="16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281717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>
                <a:solidFill>
                  <a:schemeClr val="tx2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OS MÓD. DE CONFIGURAÇÃO 2P, 3P e 4P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5221" y="1206003"/>
            <a:ext cx="8275803" cy="246221"/>
          </a:xfrm>
        </p:spPr>
        <p:txBody>
          <a:bodyPr/>
          <a:lstStyle/>
          <a:p>
            <a:pPr marL="0" indent="0">
              <a:buNone/>
            </a:pPr>
            <a:r>
              <a:rPr lang="pt-BR" dirty="0" smtClean="0"/>
              <a:t>Exemplo de 4P Provisionado na Conta</a:t>
            </a:r>
            <a:endParaRPr lang="pt-BR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07371816"/>
              </p:ext>
            </p:extLst>
          </p:nvPr>
        </p:nvGraphicFramePr>
        <p:xfrm>
          <a:off x="435220" y="1539878"/>
          <a:ext cx="8275804" cy="486092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010766"/>
                <a:gridCol w="571206"/>
                <a:gridCol w="2284830"/>
                <a:gridCol w="740784"/>
                <a:gridCol w="3025614"/>
                <a:gridCol w="642604"/>
              </a:tblGrid>
              <a:tr h="124639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u="none" strike="noStrike" dirty="0">
                          <a:effectLst/>
                        </a:rPr>
                        <a:t>TIPO_SERVICO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u="none" strike="noStrike">
                          <a:effectLst/>
                        </a:rPr>
                        <a:t>PACKAGE_ID</a:t>
                      </a:r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u="none" strike="noStrike" dirty="0">
                          <a:effectLst/>
                        </a:rPr>
                        <a:t>PACKAGE_DESCR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u="none" strike="noStrike">
                          <a:effectLst/>
                        </a:rPr>
                        <a:t>COMPONENT_ID</a:t>
                      </a:r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u="none" strike="noStrike" dirty="0">
                          <a:effectLst/>
                        </a:rPr>
                        <a:t>COMPONENT_DESCR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u="none" strike="noStrike" dirty="0">
                          <a:effectLst/>
                        </a:rPr>
                        <a:t>NIVEL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</a:tr>
              <a:tr h="124639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SIMCard - Minas Gerais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</a:rPr>
                        <a:t>2010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Saldo do Oi Cartão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</a:rPr>
                        <a:t>20567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u="none" strike="noStrike">
                          <a:effectLst/>
                        </a:rPr>
                        <a:t>Componente Crédito de Migração Pré para Pós-Pago</a:t>
                      </a:r>
                      <a:endParaRPr lang="pt-BR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 dirty="0" err="1" smtClean="0">
                          <a:solidFill>
                            <a:schemeClr val="tx1"/>
                          </a:solidFill>
                          <a:effectLst/>
                        </a:rPr>
                        <a:t>Nível</a:t>
                      </a:r>
                      <a:r>
                        <a:rPr lang="en-US" sz="80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800" u="none" strike="noStrike" dirty="0" err="1" smtClean="0">
                          <a:solidFill>
                            <a:schemeClr val="tx1"/>
                          </a:solidFill>
                          <a:effectLst/>
                        </a:rPr>
                        <a:t>Serviço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24639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SIMCard - Minas Gerais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</a:rPr>
                        <a:t>21439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Oi Internet Pra Celular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</a:rPr>
                        <a:t>2785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Componente Descrição Assinatura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 dirty="0" err="1" smtClean="0">
                          <a:solidFill>
                            <a:schemeClr val="tx1"/>
                          </a:solidFill>
                          <a:effectLst/>
                        </a:rPr>
                        <a:t>Nível</a:t>
                      </a:r>
                      <a:r>
                        <a:rPr lang="en-US" sz="80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800" u="none" strike="noStrike" dirty="0" err="1" smtClean="0">
                          <a:solidFill>
                            <a:schemeClr val="tx1"/>
                          </a:solidFill>
                          <a:effectLst/>
                        </a:rPr>
                        <a:t>Serviço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24639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SIMCard - Minas Gerais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</a:rPr>
                        <a:t>21439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Oi Internet Pra Celular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</a:rPr>
                        <a:t>31561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Assinatura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 dirty="0" err="1" smtClean="0">
                          <a:solidFill>
                            <a:schemeClr val="tx1"/>
                          </a:solidFill>
                          <a:effectLst/>
                        </a:rPr>
                        <a:t>Nível</a:t>
                      </a:r>
                      <a:r>
                        <a:rPr lang="en-US" sz="80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800" u="none" strike="noStrike" dirty="0" err="1" smtClean="0">
                          <a:solidFill>
                            <a:schemeClr val="tx1"/>
                          </a:solidFill>
                          <a:effectLst/>
                        </a:rPr>
                        <a:t>Serviço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24639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 dirty="0" err="1">
                          <a:effectLst/>
                        </a:rPr>
                        <a:t>SIMCard</a:t>
                      </a:r>
                      <a:r>
                        <a:rPr lang="en-US" sz="800" u="none" strike="noStrike" dirty="0">
                          <a:effectLst/>
                        </a:rPr>
                        <a:t> - Minas </a:t>
                      </a:r>
                      <a:r>
                        <a:rPr lang="en-US" sz="800" u="none" strike="noStrike" dirty="0" err="1">
                          <a:effectLst/>
                        </a:rPr>
                        <a:t>Gerais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</a:rPr>
                        <a:t>21439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Oi Internet Pra Celular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</a:rPr>
                        <a:t>3168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u="none" strike="noStrike">
                          <a:effectLst/>
                        </a:rPr>
                        <a:t>Componente Guia de Uso 2G Com Downgrade - Plano Opção Dados 3G </a:t>
                      </a:r>
                      <a:endParaRPr lang="pt-BR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 dirty="0" err="1" smtClean="0">
                          <a:solidFill>
                            <a:schemeClr val="tx1"/>
                          </a:solidFill>
                          <a:effectLst/>
                        </a:rPr>
                        <a:t>Nível</a:t>
                      </a:r>
                      <a:r>
                        <a:rPr lang="en-US" sz="80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800" u="none" strike="noStrike" dirty="0" err="1" smtClean="0">
                          <a:solidFill>
                            <a:schemeClr val="tx1"/>
                          </a:solidFill>
                          <a:effectLst/>
                        </a:rPr>
                        <a:t>Serviço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24639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SIMCard - Minas Gerais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</a:rPr>
                        <a:t>21439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Oi Internet Pra Celular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</a:rPr>
                        <a:t>31686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u="none" strike="noStrike">
                          <a:effectLst/>
                        </a:rPr>
                        <a:t>Componente Guia de Uso 3G Com Downgrade - Plano Opção Dados 3G</a:t>
                      </a:r>
                      <a:endParaRPr lang="pt-BR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 dirty="0" err="1" smtClean="0">
                          <a:solidFill>
                            <a:schemeClr val="tx1"/>
                          </a:solidFill>
                          <a:effectLst/>
                        </a:rPr>
                        <a:t>Nível</a:t>
                      </a:r>
                      <a:r>
                        <a:rPr lang="en-US" sz="80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800" u="none" strike="noStrike" dirty="0" err="1" smtClean="0">
                          <a:solidFill>
                            <a:schemeClr val="tx1"/>
                          </a:solidFill>
                          <a:effectLst/>
                        </a:rPr>
                        <a:t>Serviço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24639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SIMCard - Minas Gerais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</a:rPr>
                        <a:t>21439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Oi Internet Pra Celular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</a:rPr>
                        <a:t>3173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u="none" strike="noStrike">
                          <a:effectLst/>
                        </a:rPr>
                        <a:t>Componente Franquia Fake - Planos com Redução de Velocidade</a:t>
                      </a:r>
                      <a:endParaRPr lang="pt-BR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 dirty="0" err="1" smtClean="0">
                          <a:solidFill>
                            <a:schemeClr val="tx1"/>
                          </a:solidFill>
                          <a:effectLst/>
                        </a:rPr>
                        <a:t>Nível</a:t>
                      </a:r>
                      <a:r>
                        <a:rPr lang="en-US" sz="80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800" u="none" strike="noStrike" dirty="0" err="1" smtClean="0">
                          <a:solidFill>
                            <a:schemeClr val="tx1"/>
                          </a:solidFill>
                          <a:effectLst/>
                        </a:rPr>
                        <a:t>Serviço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24639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SIMCard - Minas Gerais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</a:rPr>
                        <a:t>21639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u="none" strike="noStrike">
                          <a:effectLst/>
                        </a:rPr>
                        <a:t>Oi Conta Total 2 Mais</a:t>
                      </a:r>
                      <a:endParaRPr lang="pt-BR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</a:rPr>
                        <a:t>2063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Oi Torpedo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 dirty="0" err="1" smtClean="0">
                          <a:solidFill>
                            <a:schemeClr val="tx1"/>
                          </a:solidFill>
                          <a:effectLst/>
                        </a:rPr>
                        <a:t>Nível</a:t>
                      </a:r>
                      <a:r>
                        <a:rPr lang="en-US" sz="80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800" u="none" strike="noStrike" dirty="0" err="1" smtClean="0">
                          <a:solidFill>
                            <a:schemeClr val="tx1"/>
                          </a:solidFill>
                          <a:effectLst/>
                        </a:rPr>
                        <a:t>Serviço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24639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SIMCard - Minas Gerais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</a:rPr>
                        <a:t>21639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u="none" strike="noStrike">
                          <a:effectLst/>
                        </a:rPr>
                        <a:t>Oi Conta Total 2 Mais</a:t>
                      </a:r>
                      <a:endParaRPr lang="pt-BR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</a:rPr>
                        <a:t>28958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u="none" strike="noStrike">
                          <a:effectLst/>
                        </a:rPr>
                        <a:t>Uso Voz - Oi Conta Total 2 Mais</a:t>
                      </a:r>
                      <a:endParaRPr lang="pt-BR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 dirty="0" err="1" smtClean="0">
                          <a:solidFill>
                            <a:schemeClr val="tx1"/>
                          </a:solidFill>
                          <a:effectLst/>
                        </a:rPr>
                        <a:t>Nível</a:t>
                      </a:r>
                      <a:r>
                        <a:rPr lang="en-US" sz="80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800" u="none" strike="noStrike" dirty="0" err="1" smtClean="0">
                          <a:solidFill>
                            <a:schemeClr val="tx1"/>
                          </a:solidFill>
                          <a:effectLst/>
                        </a:rPr>
                        <a:t>Serviço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24639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SIMCard - Minas Gerais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</a:rPr>
                        <a:t>21639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u="none" strike="noStrike">
                          <a:effectLst/>
                        </a:rPr>
                        <a:t>Oi Conta Total 2 Mais</a:t>
                      </a:r>
                      <a:endParaRPr lang="pt-BR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</a:rPr>
                        <a:t>28959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u="none" strike="noStrike">
                          <a:effectLst/>
                        </a:rPr>
                        <a:t>Conferência - Oi Conta Total 2 Mais</a:t>
                      </a:r>
                      <a:endParaRPr lang="pt-BR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 dirty="0" err="1" smtClean="0">
                          <a:solidFill>
                            <a:schemeClr val="tx1"/>
                          </a:solidFill>
                          <a:effectLst/>
                        </a:rPr>
                        <a:t>Nível</a:t>
                      </a:r>
                      <a:r>
                        <a:rPr lang="en-US" sz="80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800" u="none" strike="noStrike" dirty="0" err="1" smtClean="0">
                          <a:solidFill>
                            <a:schemeClr val="tx1"/>
                          </a:solidFill>
                          <a:effectLst/>
                        </a:rPr>
                        <a:t>Serviço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24639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SIMCard - Minas Gerais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</a:rPr>
                        <a:t>21639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u="none" strike="noStrike">
                          <a:effectLst/>
                        </a:rPr>
                        <a:t>Oi Conta Total 2 Mais</a:t>
                      </a:r>
                      <a:endParaRPr lang="pt-BR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</a:rPr>
                        <a:t>2896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u="none" strike="noStrike">
                          <a:effectLst/>
                        </a:rPr>
                        <a:t>Siga-me - Oi Conta Total 2 Mais</a:t>
                      </a:r>
                      <a:endParaRPr lang="pt-BR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 dirty="0" err="1" smtClean="0">
                          <a:solidFill>
                            <a:schemeClr val="tx1"/>
                          </a:solidFill>
                          <a:effectLst/>
                        </a:rPr>
                        <a:t>Nível</a:t>
                      </a:r>
                      <a:r>
                        <a:rPr lang="en-US" sz="80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800" u="none" strike="noStrike" dirty="0" err="1" smtClean="0">
                          <a:solidFill>
                            <a:schemeClr val="tx1"/>
                          </a:solidFill>
                          <a:effectLst/>
                        </a:rPr>
                        <a:t>Serviço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24639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SIMCard - Minas Gerais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</a:rPr>
                        <a:t>21639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u="none" strike="noStrike">
                          <a:effectLst/>
                        </a:rPr>
                        <a:t>Oi Conta Total 2 Mais</a:t>
                      </a:r>
                      <a:endParaRPr lang="pt-BR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</a:rPr>
                        <a:t>28961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u="none" strike="noStrike">
                          <a:effectLst/>
                        </a:rPr>
                        <a:t>Espera - Oi Conta Total 2 Mais</a:t>
                      </a:r>
                      <a:endParaRPr lang="pt-BR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 dirty="0" err="1" smtClean="0">
                          <a:solidFill>
                            <a:schemeClr val="tx1"/>
                          </a:solidFill>
                          <a:effectLst/>
                        </a:rPr>
                        <a:t>Nível</a:t>
                      </a:r>
                      <a:r>
                        <a:rPr lang="en-US" sz="80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800" u="none" strike="noStrike" dirty="0" err="1" smtClean="0">
                          <a:solidFill>
                            <a:schemeClr val="tx1"/>
                          </a:solidFill>
                          <a:effectLst/>
                        </a:rPr>
                        <a:t>Serviço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24639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SIMCard - Minas Gerais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</a:rPr>
                        <a:t>21639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u="none" strike="noStrike">
                          <a:effectLst/>
                        </a:rPr>
                        <a:t>Oi Conta Total 2 Mais</a:t>
                      </a:r>
                      <a:endParaRPr lang="pt-BR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</a:rPr>
                        <a:t>28962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u="none" strike="noStrike">
                          <a:effectLst/>
                        </a:rPr>
                        <a:t>Identificador de Chamadas - Oi Conta Total 2 Mais</a:t>
                      </a:r>
                      <a:endParaRPr lang="pt-BR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 dirty="0" err="1" smtClean="0">
                          <a:solidFill>
                            <a:schemeClr val="tx1"/>
                          </a:solidFill>
                          <a:effectLst/>
                        </a:rPr>
                        <a:t>Nível</a:t>
                      </a:r>
                      <a:r>
                        <a:rPr lang="en-US" sz="80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800" u="none" strike="noStrike" dirty="0" err="1" smtClean="0">
                          <a:solidFill>
                            <a:schemeClr val="tx1"/>
                          </a:solidFill>
                          <a:effectLst/>
                        </a:rPr>
                        <a:t>Serviço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24639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SIMCard - Minas Gerais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</a:rPr>
                        <a:t>33599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Caixa postal básica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</a:rPr>
                        <a:t>5695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Caixa Postal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 dirty="0" err="1" smtClean="0">
                          <a:solidFill>
                            <a:schemeClr val="tx1"/>
                          </a:solidFill>
                          <a:effectLst/>
                        </a:rPr>
                        <a:t>Nível</a:t>
                      </a:r>
                      <a:r>
                        <a:rPr lang="en-US" sz="80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800" u="none" strike="noStrike" dirty="0" err="1" smtClean="0">
                          <a:solidFill>
                            <a:schemeClr val="tx1"/>
                          </a:solidFill>
                          <a:effectLst/>
                        </a:rPr>
                        <a:t>Serviço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24639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SIMCard - Minas Gerais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</a:rPr>
                        <a:t>33599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Caixa postal básica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</a:rPr>
                        <a:t>56963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u="none" strike="noStrike">
                          <a:effectLst/>
                        </a:rPr>
                        <a:t>Guia de Uso Caixa Postal</a:t>
                      </a:r>
                      <a:endParaRPr lang="pt-BR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 dirty="0" err="1" smtClean="0">
                          <a:solidFill>
                            <a:schemeClr val="tx1"/>
                          </a:solidFill>
                          <a:effectLst/>
                        </a:rPr>
                        <a:t>Nível</a:t>
                      </a:r>
                      <a:r>
                        <a:rPr lang="en-US" sz="80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800" u="none" strike="noStrike" dirty="0" err="1" smtClean="0">
                          <a:solidFill>
                            <a:schemeClr val="tx1"/>
                          </a:solidFill>
                          <a:effectLst/>
                        </a:rPr>
                        <a:t>Serviço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24639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SIMCard - Minas Gerais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</a:rPr>
                        <a:t>73286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Internet para Celular - 0.01%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</a:rPr>
                        <a:t>83483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Componente Internet para Celular - 0.01%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 dirty="0" err="1" smtClean="0">
                          <a:solidFill>
                            <a:schemeClr val="tx1"/>
                          </a:solidFill>
                          <a:effectLst/>
                        </a:rPr>
                        <a:t>Nível</a:t>
                      </a:r>
                      <a:r>
                        <a:rPr lang="en-US" sz="80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800" u="none" strike="noStrike" dirty="0" err="1" smtClean="0">
                          <a:solidFill>
                            <a:schemeClr val="tx1"/>
                          </a:solidFill>
                          <a:effectLst/>
                        </a:rPr>
                        <a:t>Serviço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24639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SIMCard - Minas Gerais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</a:rPr>
                        <a:t>21439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Oi Internet Pra Celular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</a:rPr>
                        <a:t>57614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Assinatura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 dirty="0" err="1" smtClean="0">
                          <a:solidFill>
                            <a:schemeClr val="tx1"/>
                          </a:solidFill>
                          <a:effectLst/>
                        </a:rPr>
                        <a:t>Nível</a:t>
                      </a:r>
                      <a:r>
                        <a:rPr lang="en-US" sz="80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800" u="none" strike="noStrike" dirty="0" err="1" smtClean="0">
                          <a:solidFill>
                            <a:schemeClr val="tx1"/>
                          </a:solidFill>
                          <a:effectLst/>
                        </a:rPr>
                        <a:t>Serviço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24639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SIMCard - Minas Gerais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</a:rPr>
                        <a:t>21439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Oi Internet Pra Celular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</a:rPr>
                        <a:t>57617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u="none" strike="noStrike">
                          <a:effectLst/>
                        </a:rPr>
                        <a:t>Franquia Fake Oi Internet pra Celular</a:t>
                      </a:r>
                      <a:endParaRPr lang="pt-BR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 dirty="0" err="1" smtClean="0">
                          <a:solidFill>
                            <a:schemeClr val="tx1"/>
                          </a:solidFill>
                          <a:effectLst/>
                        </a:rPr>
                        <a:t>Nível</a:t>
                      </a:r>
                      <a:r>
                        <a:rPr lang="en-US" sz="80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800" u="none" strike="noStrike" dirty="0" err="1" smtClean="0">
                          <a:solidFill>
                            <a:schemeClr val="tx1"/>
                          </a:solidFill>
                          <a:effectLst/>
                        </a:rPr>
                        <a:t>Serviço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24639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SIMCard - Minas Gerais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</a:rPr>
                        <a:t>21438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 dirty="0">
                          <a:effectLst/>
                        </a:rPr>
                        <a:t>Oi Internet </a:t>
                      </a:r>
                      <a:r>
                        <a:rPr lang="en-US" sz="800" u="none" strike="noStrike" dirty="0" err="1">
                          <a:effectLst/>
                        </a:rPr>
                        <a:t>Móvel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</a:rPr>
                        <a:t>2063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Oi Torpedo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 dirty="0" err="1" smtClean="0">
                          <a:solidFill>
                            <a:schemeClr val="tx1"/>
                          </a:solidFill>
                          <a:effectLst/>
                        </a:rPr>
                        <a:t>Nível</a:t>
                      </a:r>
                      <a:r>
                        <a:rPr lang="en-US" sz="80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800" u="none" strike="noStrike" dirty="0" err="1" smtClean="0">
                          <a:solidFill>
                            <a:schemeClr val="tx1"/>
                          </a:solidFill>
                          <a:effectLst/>
                        </a:rPr>
                        <a:t>Serviço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24639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SIMCard - Minas Gerais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</a:rPr>
                        <a:t>21438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Oi Internet Móvel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</a:rPr>
                        <a:t>2785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Componente Descrição Assinatura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 dirty="0" err="1" smtClean="0">
                          <a:solidFill>
                            <a:schemeClr val="tx1"/>
                          </a:solidFill>
                          <a:effectLst/>
                        </a:rPr>
                        <a:t>Nível</a:t>
                      </a:r>
                      <a:r>
                        <a:rPr lang="en-US" sz="80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800" u="none" strike="noStrike" dirty="0" err="1" smtClean="0">
                          <a:solidFill>
                            <a:schemeClr val="tx1"/>
                          </a:solidFill>
                          <a:effectLst/>
                        </a:rPr>
                        <a:t>Serviço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24639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SIMCard - Minas Gerais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</a:rPr>
                        <a:t>21438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 dirty="0">
                          <a:effectLst/>
                        </a:rPr>
                        <a:t>Oi Internet </a:t>
                      </a:r>
                      <a:r>
                        <a:rPr lang="en-US" sz="800" u="none" strike="noStrike" dirty="0" err="1">
                          <a:effectLst/>
                        </a:rPr>
                        <a:t>Móvel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</a:rPr>
                        <a:t>28402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u="none" strike="noStrike">
                          <a:effectLst/>
                        </a:rPr>
                        <a:t>Componente Franquia 10 GB - plano OCT Plug</a:t>
                      </a:r>
                      <a:endParaRPr lang="pt-BR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 dirty="0" err="1" smtClean="0">
                          <a:solidFill>
                            <a:schemeClr val="tx1"/>
                          </a:solidFill>
                          <a:effectLst/>
                        </a:rPr>
                        <a:t>Nível</a:t>
                      </a:r>
                      <a:r>
                        <a:rPr lang="en-US" sz="80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800" u="none" strike="noStrike" dirty="0" err="1" smtClean="0">
                          <a:solidFill>
                            <a:schemeClr val="tx1"/>
                          </a:solidFill>
                          <a:effectLst/>
                        </a:rPr>
                        <a:t>Serviço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24639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SIMCard - Minas Gerais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</a:rPr>
                        <a:t>21438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Oi Internet Móvel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</a:rPr>
                        <a:t>31683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u="none" strike="noStrike">
                          <a:effectLst/>
                        </a:rPr>
                        <a:t>Componente Guia de Uso 2G Com Downgrade - Plano Oi Velox 3G </a:t>
                      </a:r>
                      <a:endParaRPr lang="pt-BR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 dirty="0" err="1" smtClean="0">
                          <a:solidFill>
                            <a:schemeClr val="tx1"/>
                          </a:solidFill>
                          <a:effectLst/>
                        </a:rPr>
                        <a:t>Nível</a:t>
                      </a:r>
                      <a:r>
                        <a:rPr lang="en-US" sz="80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800" u="none" strike="noStrike" dirty="0" err="1" smtClean="0">
                          <a:solidFill>
                            <a:schemeClr val="tx1"/>
                          </a:solidFill>
                          <a:effectLst/>
                        </a:rPr>
                        <a:t>Serviço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24639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SIMCard - Minas Gerais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</a:rPr>
                        <a:t>21438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Oi Internet Móvel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</a:rPr>
                        <a:t>31684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u="none" strike="noStrike">
                          <a:effectLst/>
                        </a:rPr>
                        <a:t>Componente Guia de Uso 3G Com Downgrade - Plano Oi Velox 3G</a:t>
                      </a:r>
                      <a:endParaRPr lang="pt-BR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 dirty="0" err="1" smtClean="0">
                          <a:solidFill>
                            <a:schemeClr val="tx1"/>
                          </a:solidFill>
                          <a:effectLst/>
                        </a:rPr>
                        <a:t>Nível</a:t>
                      </a:r>
                      <a:r>
                        <a:rPr lang="en-US" sz="80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800" u="none" strike="noStrike" dirty="0" err="1" smtClean="0">
                          <a:solidFill>
                            <a:schemeClr val="tx1"/>
                          </a:solidFill>
                          <a:effectLst/>
                        </a:rPr>
                        <a:t>Serviço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24639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SIMCard - Minas Gerais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</a:rPr>
                        <a:t>21438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Oi Internet Móvel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</a:rPr>
                        <a:t>57613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Componente Assinatura 10Gb Substituto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 dirty="0" err="1" smtClean="0">
                          <a:solidFill>
                            <a:schemeClr val="tx1"/>
                          </a:solidFill>
                          <a:effectLst/>
                        </a:rPr>
                        <a:t>Nível</a:t>
                      </a:r>
                      <a:r>
                        <a:rPr lang="en-US" sz="80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800" u="none" strike="noStrike" dirty="0" err="1" smtClean="0">
                          <a:solidFill>
                            <a:schemeClr val="tx1"/>
                          </a:solidFill>
                          <a:effectLst/>
                        </a:rPr>
                        <a:t>Serviço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24639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 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</a:rPr>
                        <a:t>21582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u="none" strike="noStrike">
                          <a:effectLst/>
                        </a:rPr>
                        <a:t>Promoção Oi Conta Total 2 Mais</a:t>
                      </a:r>
                      <a:endParaRPr lang="pt-BR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</a:rPr>
                        <a:t>28786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Componente de Assinatura Oi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 dirty="0" err="1" smtClean="0">
                          <a:solidFill>
                            <a:schemeClr val="tx1"/>
                          </a:solidFill>
                          <a:effectLst/>
                        </a:rPr>
                        <a:t>Nível</a:t>
                      </a:r>
                      <a:r>
                        <a:rPr lang="en-US" sz="80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800" u="none" strike="noStrike" dirty="0" err="1" smtClean="0">
                          <a:solidFill>
                            <a:schemeClr val="tx1"/>
                          </a:solidFill>
                          <a:effectLst/>
                        </a:rPr>
                        <a:t>Conta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24639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 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</a:rPr>
                        <a:t>21582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u="none" strike="noStrike">
                          <a:effectLst/>
                        </a:rPr>
                        <a:t>Promoção Oi Conta Total 2 Mais</a:t>
                      </a:r>
                      <a:endParaRPr lang="pt-BR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</a:rPr>
                        <a:t>28787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Componente Oferta Oi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 dirty="0" err="1" smtClean="0">
                          <a:solidFill>
                            <a:schemeClr val="tx1"/>
                          </a:solidFill>
                          <a:effectLst/>
                        </a:rPr>
                        <a:t>Nível</a:t>
                      </a:r>
                      <a:r>
                        <a:rPr lang="en-US" sz="80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800" u="none" strike="noStrike" dirty="0" err="1" smtClean="0">
                          <a:solidFill>
                            <a:schemeClr val="tx1"/>
                          </a:solidFill>
                          <a:effectLst/>
                        </a:rPr>
                        <a:t>Conta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24639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 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</a:rPr>
                        <a:t>21582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u="none" strike="noStrike">
                          <a:effectLst/>
                        </a:rPr>
                        <a:t>Promoção Oi Conta Total 2 Mais</a:t>
                      </a:r>
                      <a:endParaRPr lang="pt-BR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</a:rPr>
                        <a:t>28993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u="none" strike="noStrike">
                          <a:effectLst/>
                        </a:rPr>
                        <a:t>Oi Conta Total 2 Mais - Franquia</a:t>
                      </a:r>
                      <a:endParaRPr lang="pt-BR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 dirty="0" err="1" smtClean="0">
                          <a:solidFill>
                            <a:schemeClr val="tx1"/>
                          </a:solidFill>
                          <a:effectLst/>
                        </a:rPr>
                        <a:t>Nível</a:t>
                      </a:r>
                      <a:r>
                        <a:rPr lang="en-US" sz="80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800" u="none" strike="noStrike" dirty="0" err="1" smtClean="0">
                          <a:solidFill>
                            <a:schemeClr val="tx1"/>
                          </a:solidFill>
                          <a:effectLst/>
                        </a:rPr>
                        <a:t>Conta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24639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 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</a:rPr>
                        <a:t>21582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u="none" strike="noStrike">
                          <a:effectLst/>
                        </a:rPr>
                        <a:t>Promoção Oi Conta Total 2 Mais</a:t>
                      </a:r>
                      <a:endParaRPr lang="pt-BR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</a:rPr>
                        <a:t>57819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u="none" strike="noStrike">
                          <a:effectLst/>
                        </a:rPr>
                        <a:t>Ligações locais do seu Fixo</a:t>
                      </a:r>
                      <a:endParaRPr lang="pt-BR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 dirty="0" err="1" smtClean="0">
                          <a:solidFill>
                            <a:schemeClr val="tx1"/>
                          </a:solidFill>
                          <a:effectLst/>
                        </a:rPr>
                        <a:t>Nível</a:t>
                      </a:r>
                      <a:r>
                        <a:rPr lang="en-US" sz="80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800" u="none" strike="noStrike" dirty="0" err="1" smtClean="0">
                          <a:solidFill>
                            <a:schemeClr val="tx1"/>
                          </a:solidFill>
                          <a:effectLst/>
                        </a:rPr>
                        <a:t>Conta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24639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 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</a:rPr>
                        <a:t>21582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u="none" strike="noStrike">
                          <a:effectLst/>
                        </a:rPr>
                        <a:t>Promoção Oi Conta Total 2 Mais</a:t>
                      </a:r>
                      <a:endParaRPr lang="pt-BR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</a:rPr>
                        <a:t>58053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Assinatura Oi Fixo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 dirty="0" err="1" smtClean="0">
                          <a:solidFill>
                            <a:schemeClr val="tx1"/>
                          </a:solidFill>
                          <a:effectLst/>
                        </a:rPr>
                        <a:t>Nível</a:t>
                      </a:r>
                      <a:r>
                        <a:rPr lang="en-US" sz="80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800" u="none" strike="noStrike" dirty="0" err="1" smtClean="0">
                          <a:solidFill>
                            <a:schemeClr val="tx1"/>
                          </a:solidFill>
                          <a:effectLst/>
                        </a:rPr>
                        <a:t>Conta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24639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 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</a:rPr>
                        <a:t>21582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u="none" strike="noStrike">
                          <a:effectLst/>
                        </a:rPr>
                        <a:t>Promoção Oi Conta Total 2 Mais</a:t>
                      </a:r>
                      <a:endParaRPr lang="pt-BR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</a:rPr>
                        <a:t>58287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u="none" strike="noStrike">
                          <a:effectLst/>
                        </a:rPr>
                        <a:t>Identificador de Chamadas e Chamada em Espera</a:t>
                      </a:r>
                      <a:endParaRPr lang="pt-BR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 dirty="0" err="1" smtClean="0">
                          <a:solidFill>
                            <a:schemeClr val="tx1"/>
                          </a:solidFill>
                          <a:effectLst/>
                        </a:rPr>
                        <a:t>Nível</a:t>
                      </a:r>
                      <a:r>
                        <a:rPr lang="en-US" sz="80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800" u="none" strike="noStrike" dirty="0" err="1" smtClean="0">
                          <a:solidFill>
                            <a:schemeClr val="tx1"/>
                          </a:solidFill>
                          <a:effectLst/>
                        </a:rPr>
                        <a:t>Conta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24639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 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</a:rPr>
                        <a:t>22687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u="none" strike="noStrike">
                          <a:effectLst/>
                        </a:rPr>
                        <a:t>Pacote de Ligação Longa Distância Nacional</a:t>
                      </a:r>
                      <a:endParaRPr lang="pt-BR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</a:rPr>
                        <a:t>31515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u="none" strike="noStrike">
                          <a:effectLst/>
                        </a:rPr>
                        <a:t>Componente Bônus LD Oi Conta Total - 225.000 minutos Pré Franquia</a:t>
                      </a:r>
                      <a:endParaRPr lang="pt-BR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 dirty="0" err="1" smtClean="0">
                          <a:solidFill>
                            <a:schemeClr val="tx1"/>
                          </a:solidFill>
                          <a:effectLst/>
                        </a:rPr>
                        <a:t>Nível</a:t>
                      </a:r>
                      <a:r>
                        <a:rPr lang="en-US" sz="80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800" u="none" strike="noStrike" dirty="0" err="1" smtClean="0">
                          <a:solidFill>
                            <a:schemeClr val="tx1"/>
                          </a:solidFill>
                          <a:effectLst/>
                        </a:rPr>
                        <a:t>Conta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24639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 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</a:rPr>
                        <a:t>60755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u="none" strike="noStrike">
                          <a:effectLst/>
                        </a:rPr>
                        <a:t>Pacote 100 MMS Oi Familia e Oi Conta Total</a:t>
                      </a:r>
                      <a:endParaRPr lang="pt-BR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</a:rPr>
                        <a:t>61547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u="none" strike="noStrike">
                          <a:effectLst/>
                        </a:rPr>
                        <a:t>Componente Pacote 100 MMS Oi Familia e Oi Conta Total</a:t>
                      </a:r>
                      <a:endParaRPr lang="pt-BR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 dirty="0" err="1" smtClean="0">
                          <a:solidFill>
                            <a:schemeClr val="tx1"/>
                          </a:solidFill>
                          <a:effectLst/>
                        </a:rPr>
                        <a:t>Nível</a:t>
                      </a:r>
                      <a:r>
                        <a:rPr lang="en-US" sz="80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800" u="none" strike="noStrike" dirty="0" err="1" smtClean="0">
                          <a:solidFill>
                            <a:schemeClr val="tx1"/>
                          </a:solidFill>
                          <a:effectLst/>
                        </a:rPr>
                        <a:t>Conta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24639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 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</a:rPr>
                        <a:t>61829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u="none" strike="noStrike">
                          <a:effectLst/>
                        </a:rPr>
                        <a:t>Bônus 225.000 Minutos Local -  OCT Pós Franquia</a:t>
                      </a:r>
                      <a:endParaRPr lang="pt-BR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</a:rPr>
                        <a:t>64110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u="none" strike="noStrike">
                          <a:effectLst/>
                        </a:rPr>
                        <a:t>Componente Bônus 225.000 Minutos Local -  OCT Pós Franquia</a:t>
                      </a:r>
                      <a:endParaRPr lang="pt-BR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 dirty="0" err="1" smtClean="0">
                          <a:solidFill>
                            <a:schemeClr val="tx1"/>
                          </a:solidFill>
                          <a:effectLst/>
                        </a:rPr>
                        <a:t>Nível</a:t>
                      </a:r>
                      <a:r>
                        <a:rPr lang="en-US" sz="80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800" u="none" strike="noStrike" dirty="0" err="1" smtClean="0">
                          <a:solidFill>
                            <a:schemeClr val="tx1"/>
                          </a:solidFill>
                          <a:effectLst/>
                        </a:rPr>
                        <a:t>Conta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24639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 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</a:rPr>
                        <a:t>62552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u="none" strike="noStrike">
                          <a:effectLst/>
                        </a:rPr>
                        <a:t>Bônus 225.000 Minutos Local -  OCT Pré Franquia - AQ</a:t>
                      </a:r>
                      <a:endParaRPr lang="pt-BR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</a:rPr>
                        <a:t>65119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u="none" strike="noStrike">
                          <a:effectLst/>
                        </a:rPr>
                        <a:t>Componente Bônus 225.000 Minutos Local -  OCT Pré Franquia - AQ</a:t>
                      </a:r>
                      <a:endParaRPr lang="pt-BR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 dirty="0" err="1" smtClean="0">
                          <a:solidFill>
                            <a:schemeClr val="tx1"/>
                          </a:solidFill>
                          <a:effectLst/>
                        </a:rPr>
                        <a:t>Nível</a:t>
                      </a:r>
                      <a:r>
                        <a:rPr lang="en-US" sz="80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800" u="none" strike="noStrike" dirty="0" err="1" smtClean="0">
                          <a:solidFill>
                            <a:schemeClr val="tx1"/>
                          </a:solidFill>
                          <a:effectLst/>
                        </a:rPr>
                        <a:t>Conta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24639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 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</a:rPr>
                        <a:t>75782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OCT NT - Benefício pra toda vida Oi - 56.57%_jun15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</a:rPr>
                        <a:t>86762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Componente OCT NT - Benefício pra toda vida Oi - 56.57%_jun15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 dirty="0" err="1" smtClean="0">
                          <a:solidFill>
                            <a:schemeClr val="tx1"/>
                          </a:solidFill>
                          <a:effectLst/>
                        </a:rPr>
                        <a:t>Nível</a:t>
                      </a:r>
                      <a:r>
                        <a:rPr lang="en-US" sz="80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800" u="none" strike="noStrike" dirty="0" err="1" smtClean="0">
                          <a:solidFill>
                            <a:schemeClr val="tx1"/>
                          </a:solidFill>
                          <a:effectLst/>
                        </a:rPr>
                        <a:t>Conta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24639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 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</a:rPr>
                        <a:t>75782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OCT NT - Benefício pra toda vida Oi - 56.57%_jun15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</a:rPr>
                        <a:t>86763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Componente OCT NT - Benefício pra toda vida Oi - 56.57%_jun15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 dirty="0" err="1" smtClean="0">
                          <a:solidFill>
                            <a:schemeClr val="tx1"/>
                          </a:solidFill>
                          <a:effectLst/>
                        </a:rPr>
                        <a:t>Nível</a:t>
                      </a:r>
                      <a:r>
                        <a:rPr lang="en-US" sz="80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800" u="none" strike="noStrike" dirty="0" err="1" smtClean="0">
                          <a:solidFill>
                            <a:schemeClr val="tx1"/>
                          </a:solidFill>
                          <a:effectLst/>
                        </a:rPr>
                        <a:t>Conta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24639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 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</a:rPr>
                        <a:t>75815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Retira_SMS_SMS Assinatura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</a:rPr>
                        <a:t>86808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Componente Retira_SMS_SMS Assinatura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 dirty="0" err="1" smtClean="0">
                          <a:solidFill>
                            <a:schemeClr val="tx1"/>
                          </a:solidFill>
                          <a:effectLst/>
                        </a:rPr>
                        <a:t>Nível</a:t>
                      </a:r>
                      <a:r>
                        <a:rPr lang="en-US" sz="80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800" u="none" strike="noStrike" dirty="0" err="1" smtClean="0">
                          <a:solidFill>
                            <a:schemeClr val="tx1"/>
                          </a:solidFill>
                          <a:effectLst/>
                        </a:rPr>
                        <a:t>Conta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24639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 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</a:rPr>
                        <a:t>75843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Pacote_SMS_Ilimitado_Gratuito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</a:rPr>
                        <a:t>86863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Componente Pacote_SMS_Ilimitado_Gratuito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 dirty="0" err="1" smtClean="0">
                          <a:solidFill>
                            <a:schemeClr val="tx1"/>
                          </a:solidFill>
                          <a:effectLst/>
                        </a:rPr>
                        <a:t>Nível</a:t>
                      </a:r>
                      <a:r>
                        <a:rPr lang="en-US" sz="80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800" u="none" strike="noStrike" dirty="0" err="1" smtClean="0">
                          <a:solidFill>
                            <a:schemeClr val="tx1"/>
                          </a:solidFill>
                          <a:effectLst/>
                        </a:rPr>
                        <a:t>Conta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24639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 dirty="0">
                          <a:effectLst/>
                        </a:rPr>
                        <a:t> 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</a:rPr>
                        <a:t>75872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Retira_SMS_SMS Convive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</a:rPr>
                        <a:t>86919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Componente Retira_SMS_SMS Convive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 dirty="0" err="1" smtClean="0">
                          <a:solidFill>
                            <a:schemeClr val="tx1"/>
                          </a:solidFill>
                          <a:effectLst/>
                        </a:rPr>
                        <a:t>Nível</a:t>
                      </a:r>
                      <a:r>
                        <a:rPr lang="en-US" sz="80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800" u="none" strike="noStrike" dirty="0" err="1" smtClean="0">
                          <a:solidFill>
                            <a:schemeClr val="tx1"/>
                          </a:solidFill>
                          <a:effectLst/>
                        </a:rPr>
                        <a:t>Conta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4" marR="1144" marT="114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807826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220" y="0"/>
            <a:ext cx="8708780" cy="1044000"/>
          </a:xfrm>
        </p:spPr>
        <p:txBody>
          <a:bodyPr>
            <a:normAutofit/>
          </a:bodyPr>
          <a:lstStyle/>
          <a:p>
            <a:r>
              <a:rPr lang="pt-BR" dirty="0" smtClean="0">
                <a:solidFill>
                  <a:schemeClr val="tx2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OS MÓD. DE CONFIGURAÇÃO 2P, 3P e 4P</a:t>
            </a:r>
            <a:endParaRPr lang="en-US" dirty="0">
              <a:solidFill>
                <a:schemeClr val="tx2">
                  <a:lumMod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0" y="1887608"/>
            <a:ext cx="4572000" cy="4209294"/>
          </a:xfrm>
          <a:prstGeom prst="rect">
            <a:avLst/>
          </a:prstGeom>
        </p:spPr>
        <p:txBody>
          <a:bodyPr>
            <a:spAutoFit/>
          </a:bodyPr>
          <a:lstStyle/>
          <a:p>
            <a:pPr marL="742950" lvl="1" indent="-285750">
              <a:lnSpc>
                <a:spcPct val="107000"/>
              </a:lnSpc>
              <a:buFont typeface="Courier New" panose="02070309020205020404" pitchFamily="49" charset="0"/>
              <a:buChar char="o"/>
            </a:pPr>
            <a:r>
              <a:rPr lang="pt-BR" sz="1600" b="1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abelas utilizadas na configuração:</a:t>
            </a:r>
          </a:p>
          <a:p>
            <a:pPr marL="846781" lvl="2">
              <a:lnSpc>
                <a:spcPct val="107000"/>
              </a:lnSpc>
            </a:pPr>
            <a:endParaRPr lang="pt-BR" sz="1800" b="1" dirty="0" smtClean="0">
              <a:solidFill>
                <a:srgbClr val="FFFF0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846781" lvl="2">
              <a:lnSpc>
                <a:spcPct val="107000"/>
              </a:lnSpc>
            </a:pP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abelas Core configuradas para este pacote são:</a:t>
            </a:r>
          </a:p>
          <a:p>
            <a:pPr marL="1018231" lvl="2" indent="-171450">
              <a:lnSpc>
                <a:spcPct val="107000"/>
              </a:lnSpc>
              <a:buFont typeface="Wingdings" panose="05000000000000000000" pitchFamily="2" charset="2"/>
              <a:buChar char="q"/>
            </a:pP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ACKAGE_GROUP_REF</a:t>
            </a:r>
          </a:p>
          <a:p>
            <a:pPr marL="1018231" lvl="2" indent="-171450">
              <a:lnSpc>
                <a:spcPct val="107000"/>
              </a:lnSpc>
              <a:buFont typeface="Wingdings" panose="05000000000000000000" pitchFamily="2" charset="2"/>
              <a:buChar char="q"/>
            </a:pP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ACKAGE_GROUP_VALUES</a:t>
            </a:r>
          </a:p>
          <a:p>
            <a:pPr marL="1018231" lvl="2" indent="-171450">
              <a:lnSpc>
                <a:spcPct val="107000"/>
              </a:lnSpc>
              <a:buFont typeface="Wingdings" panose="05000000000000000000" pitchFamily="2" charset="2"/>
              <a:buChar char="q"/>
            </a:pP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ACKAGE_DEFINITION_REF</a:t>
            </a:r>
          </a:p>
          <a:p>
            <a:pPr marL="1018231" lvl="2" indent="-171450">
              <a:lnSpc>
                <a:spcPct val="107000"/>
              </a:lnSpc>
              <a:buFont typeface="Wingdings" panose="05000000000000000000" pitchFamily="2" charset="2"/>
              <a:buChar char="q"/>
            </a:pP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ACKAGE_DEFINITION_VALUES</a:t>
            </a:r>
          </a:p>
          <a:p>
            <a:pPr marL="1018231" lvl="2" indent="-171450">
              <a:lnSpc>
                <a:spcPct val="107000"/>
              </a:lnSpc>
              <a:buFont typeface="Wingdings" panose="05000000000000000000" pitchFamily="2" charset="2"/>
              <a:buChar char="q"/>
            </a:pP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OMPONENT_DEFINITION_REF</a:t>
            </a:r>
          </a:p>
          <a:p>
            <a:pPr marL="1018231" lvl="2" indent="-171450">
              <a:lnSpc>
                <a:spcPct val="107000"/>
              </a:lnSpc>
              <a:buFont typeface="Wingdings" panose="05000000000000000000" pitchFamily="2" charset="2"/>
              <a:buChar char="q"/>
            </a:pP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OMPONENT_DEFINITION_VALUES</a:t>
            </a:r>
          </a:p>
          <a:p>
            <a:pPr marL="1018231" lvl="2" indent="-171450">
              <a:lnSpc>
                <a:spcPct val="107000"/>
              </a:lnSpc>
              <a:buFont typeface="Wingdings" panose="05000000000000000000" pitchFamily="2" charset="2"/>
              <a:buChar char="q"/>
            </a:pP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ACKAGE_COMPONENTS</a:t>
            </a:r>
          </a:p>
          <a:p>
            <a:pPr marL="1018231" lvl="2" indent="-171450">
              <a:lnSpc>
                <a:spcPct val="107000"/>
              </a:lnSpc>
              <a:buFont typeface="Wingdings" panose="05000000000000000000" pitchFamily="2" charset="2"/>
              <a:buChar char="q"/>
            </a:pP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ACKAGE_COMPONENT_MEMBERS</a:t>
            </a:r>
          </a:p>
          <a:p>
            <a:pPr marL="1018231" lvl="2" indent="-171450">
              <a:lnSpc>
                <a:spcPct val="107000"/>
              </a:lnSpc>
              <a:buFont typeface="Wingdings" panose="05000000000000000000" pitchFamily="2" charset="2"/>
              <a:buChar char="q"/>
            </a:pP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ESCRIPTIONS</a:t>
            </a:r>
          </a:p>
          <a:p>
            <a:pPr marL="1018231" lvl="2" indent="-171450">
              <a:lnSpc>
                <a:spcPct val="107000"/>
              </a:lnSpc>
              <a:buFont typeface="Wingdings" panose="05000000000000000000" pitchFamily="2" charset="2"/>
              <a:buChar char="q"/>
            </a:pP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RODUCT_ELEMENTS</a:t>
            </a:r>
          </a:p>
          <a:p>
            <a:pPr marL="1018231" lvl="2" indent="-171450">
              <a:lnSpc>
                <a:spcPct val="107000"/>
              </a:lnSpc>
              <a:buFont typeface="Wingdings" panose="05000000000000000000" pitchFamily="2" charset="2"/>
              <a:buChar char="q"/>
            </a:pP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RATE_RC</a:t>
            </a:r>
          </a:p>
          <a:p>
            <a:pPr marL="1018231" lvl="2" indent="-171450">
              <a:lnSpc>
                <a:spcPct val="107000"/>
              </a:lnSpc>
              <a:buFont typeface="Wingdings" panose="05000000000000000000" pitchFamily="2" charset="2"/>
              <a:buChar char="q"/>
            </a:pP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LAN_ID_CREDIT_REF</a:t>
            </a:r>
          </a:p>
          <a:p>
            <a:pPr marL="1018231" lvl="2" indent="-171450">
              <a:lnSpc>
                <a:spcPct val="107000"/>
              </a:lnSpc>
              <a:buFont typeface="Wingdings" panose="05000000000000000000" pitchFamily="2" charset="2"/>
              <a:buChar char="q"/>
            </a:pP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LAN_ID_CREDIT_VALUES</a:t>
            </a:r>
          </a:p>
          <a:p>
            <a:pPr marL="1018231" lvl="2" indent="-171450">
              <a:lnSpc>
                <a:spcPct val="107000"/>
              </a:lnSpc>
              <a:buFont typeface="Wingdings" panose="05000000000000000000" pitchFamily="2" charset="2"/>
              <a:buChar char="q"/>
            </a:pP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UNIT_CR_DEFINITIONS</a:t>
            </a:r>
          </a:p>
          <a:p>
            <a:pPr marL="1018231" lvl="2" indent="-171450">
              <a:lnSpc>
                <a:spcPct val="107000"/>
              </a:lnSpc>
              <a:buFont typeface="Wingdings" panose="05000000000000000000" pitchFamily="2" charset="2"/>
              <a:buChar char="q"/>
            </a:pP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UNIT_CR_RESTRICTIONS</a:t>
            </a:r>
          </a:p>
          <a:p>
            <a:pPr marL="1018231" lvl="2" indent="-171450">
              <a:lnSpc>
                <a:spcPct val="107000"/>
              </a:lnSpc>
              <a:buFont typeface="Wingdings" panose="05000000000000000000" pitchFamily="2" charset="2"/>
              <a:buChar char="q"/>
            </a:pP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RATE_UNIT_CR</a:t>
            </a:r>
          </a:p>
          <a:p>
            <a:pPr marL="1018231" lvl="2" indent="-171450">
              <a:lnSpc>
                <a:spcPct val="107000"/>
              </a:lnSpc>
              <a:buFont typeface="Wingdings" panose="05000000000000000000" pitchFamily="2" charset="2"/>
              <a:buChar char="q"/>
            </a:pP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UNIT_CR_PLANS</a:t>
            </a:r>
            <a:endParaRPr lang="pt-BR" sz="12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4197927" y="2447441"/>
            <a:ext cx="4572000" cy="2513124"/>
          </a:xfrm>
          <a:prstGeom prst="rect">
            <a:avLst/>
          </a:prstGeom>
        </p:spPr>
        <p:txBody>
          <a:bodyPr>
            <a:spAutoFit/>
          </a:bodyPr>
          <a:lstStyle/>
          <a:p>
            <a:pPr marL="846781" lvl="2">
              <a:lnSpc>
                <a:spcPct val="107000"/>
              </a:lnSpc>
            </a:pP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abelas </a:t>
            </a:r>
            <a:r>
              <a:rPr lang="pt-BR" sz="1200" dirty="0" err="1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ustom</a:t>
            </a: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configuradas para este pacote são:</a:t>
            </a:r>
          </a:p>
          <a:p>
            <a:pPr marL="1018231" lvl="2" indent="-171450">
              <a:lnSpc>
                <a:spcPct val="107000"/>
              </a:lnSpc>
              <a:buFont typeface="Wingdings" panose="05000000000000000000" pitchFamily="2" charset="2"/>
              <a:buChar char="q"/>
            </a:pPr>
            <a:r>
              <a:rPr lang="en-US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AS_CADASTRO_ELEMENTOS</a:t>
            </a:r>
            <a:endParaRPr lang="en-US" sz="12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1018231" lvl="2" indent="-171450">
              <a:lnSpc>
                <a:spcPct val="107000"/>
              </a:lnSpc>
              <a:buFont typeface="Wingdings" panose="05000000000000000000" pitchFamily="2" charset="2"/>
              <a:buChar char="q"/>
            </a:pPr>
            <a:r>
              <a:rPr lang="en-US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AS_CONFIG_COMP_CORR_ARBOR</a:t>
            </a:r>
          </a:p>
          <a:p>
            <a:pPr marL="1018231" lvl="2" indent="-171450">
              <a:lnSpc>
                <a:spcPct val="107000"/>
              </a:lnSpc>
              <a:buFont typeface="Wingdings" panose="05000000000000000000" pitchFamily="2" charset="2"/>
              <a:buChar char="q"/>
            </a:pPr>
            <a:r>
              <a:rPr lang="en-US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RC_CONFIG</a:t>
            </a:r>
          </a:p>
          <a:p>
            <a:pPr marL="1018231" lvl="2" indent="-171450">
              <a:lnSpc>
                <a:spcPct val="107000"/>
              </a:lnSpc>
              <a:buFont typeface="Wingdings" panose="05000000000000000000" pitchFamily="2" charset="2"/>
              <a:buChar char="q"/>
            </a:pPr>
            <a:r>
              <a:rPr lang="en-US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I_TESTE_ATU_FRANQUIA</a:t>
            </a:r>
          </a:p>
          <a:p>
            <a:pPr marL="1018231" lvl="2" indent="-171450">
              <a:lnSpc>
                <a:spcPct val="107000"/>
              </a:lnSpc>
              <a:buFont typeface="Wingdings" panose="05000000000000000000" pitchFamily="2" charset="2"/>
              <a:buChar char="q"/>
            </a:pPr>
            <a:r>
              <a:rPr lang="en-US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IBIF_CFG_DESCRICAO</a:t>
            </a:r>
          </a:p>
          <a:p>
            <a:pPr marL="1018231" lvl="2" indent="-171450">
              <a:lnSpc>
                <a:spcPct val="107000"/>
              </a:lnSpc>
              <a:buFont typeface="Wingdings" panose="05000000000000000000" pitchFamily="2" charset="2"/>
              <a:buChar char="q"/>
            </a:pPr>
            <a:r>
              <a:rPr lang="en-US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IBIF_CFG_SECOES</a:t>
            </a:r>
          </a:p>
          <a:p>
            <a:pPr marL="1018231" lvl="2" indent="-171450">
              <a:lnSpc>
                <a:spcPct val="107000"/>
              </a:lnSpc>
              <a:buFont typeface="Wingdings" panose="05000000000000000000" pitchFamily="2" charset="2"/>
              <a:buChar char="q"/>
            </a:pPr>
            <a:r>
              <a:rPr lang="en-US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IBIFPC_CFG_ESTRUTURA_REGISTRO</a:t>
            </a:r>
          </a:p>
          <a:p>
            <a:pPr marL="1018231" lvl="2" indent="-171450">
              <a:lnSpc>
                <a:spcPct val="107000"/>
              </a:lnSpc>
              <a:buFont typeface="Wingdings" panose="05000000000000000000" pitchFamily="2" charset="2"/>
              <a:buChar char="q"/>
            </a:pPr>
            <a:r>
              <a:rPr lang="en-US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IBIF_CFG_GUIA_DETALHES</a:t>
            </a:r>
          </a:p>
          <a:p>
            <a:pPr marL="1018231" lvl="2" indent="-171450">
              <a:lnSpc>
                <a:spcPct val="107000"/>
              </a:lnSpc>
              <a:buFont typeface="Wingdings" panose="05000000000000000000" pitchFamily="2" charset="2"/>
              <a:buChar char="q"/>
            </a:pPr>
            <a:r>
              <a:rPr lang="en-US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IBIF_CFG_OPENITEM_BIFWEB</a:t>
            </a:r>
          </a:p>
          <a:p>
            <a:pPr marL="1018231" lvl="2" indent="-171450">
              <a:lnSpc>
                <a:spcPct val="107000"/>
              </a:lnSpc>
              <a:buFont typeface="Wingdings" panose="05000000000000000000" pitchFamily="2" charset="2"/>
              <a:buChar char="q"/>
            </a:pPr>
            <a:r>
              <a:rPr lang="en-US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IBIF_CFG_PARAMETROS</a:t>
            </a:r>
          </a:p>
          <a:p>
            <a:pPr marL="1018231" lvl="2" indent="-171450">
              <a:lnSpc>
                <a:spcPct val="107000"/>
              </a:lnSpc>
              <a:buFont typeface="Wingdings" panose="05000000000000000000" pitchFamily="2" charset="2"/>
              <a:buChar char="q"/>
            </a:pPr>
            <a:r>
              <a:rPr lang="pt-BR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BI_PACKAGE_GRUPO</a:t>
            </a:r>
            <a:endParaRPr lang="en-US" sz="12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630646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220" y="0"/>
            <a:ext cx="8708780" cy="1044000"/>
          </a:xfrm>
        </p:spPr>
        <p:txBody>
          <a:bodyPr>
            <a:normAutofit/>
          </a:bodyPr>
          <a:lstStyle/>
          <a:p>
            <a:r>
              <a:rPr lang="en-US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OS MÓD. DE CONFIGURAÇÃO</a:t>
            </a:r>
            <a:r>
              <a:rPr lang="en-US" dirty="0" smtClean="0">
                <a:solidFill>
                  <a:srgbClr val="00B05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P</a:t>
            </a:r>
            <a:r>
              <a:rPr lang="en-US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, 3P e 4P</a:t>
            </a:r>
            <a:endParaRPr lang="en-US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614014" y="1408469"/>
            <a:ext cx="7439833" cy="32540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67618">
              <a:lnSpc>
                <a:spcPct val="107000"/>
              </a:lnSpc>
            </a:pPr>
            <a:r>
              <a:rPr lang="pt-BR" sz="1800" b="1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escrição básica da </a:t>
            </a:r>
            <a:r>
              <a:rPr lang="pt-BR" sz="18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onfiguração  </a:t>
            </a:r>
            <a:r>
              <a:rPr lang="pt-BR" sz="1800" b="1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P, 3P e 4P</a:t>
            </a:r>
          </a:p>
          <a:p>
            <a:pPr marL="67618">
              <a:lnSpc>
                <a:spcPct val="107000"/>
              </a:lnSpc>
            </a:pPr>
            <a:endParaRPr lang="pt-BR" sz="1800" b="1" dirty="0" smtClean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67618">
              <a:lnSpc>
                <a:spcPct val="107000"/>
              </a:lnSpc>
            </a:pP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onfigurações #</a:t>
            </a:r>
            <a:r>
              <a:rPr lang="pt-BR" sz="1200" dirty="0" err="1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s</a:t>
            </a: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são planos oferecidos pela OI para clientes que querem possuir diferentes tipos de serviço, que são combinados em um. Estas são combinações de pelo menos Fixo e Internet (3G) para 2P, mais serviços de TV para 3P e serviço Móvel para 4P.</a:t>
            </a:r>
          </a:p>
          <a:p>
            <a:pPr marL="67618">
              <a:lnSpc>
                <a:spcPct val="107000"/>
              </a:lnSpc>
            </a:pPr>
            <a:endParaRPr lang="pt-BR" sz="1200" dirty="0" smtClean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457200" lvl="1">
              <a:lnSpc>
                <a:spcPct val="107000"/>
              </a:lnSpc>
            </a:pP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P – 3G + Velox + Fixo Ilimitado</a:t>
            </a:r>
          </a:p>
          <a:p>
            <a:pPr marL="457200" lvl="1">
              <a:lnSpc>
                <a:spcPct val="107000"/>
              </a:lnSpc>
            </a:pP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3P – Fixo ilimitado + TV + Velox</a:t>
            </a:r>
          </a:p>
          <a:p>
            <a:pPr marL="457200" lvl="1">
              <a:lnSpc>
                <a:spcPct val="107000"/>
              </a:lnSpc>
            </a:pP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4P – Móvel + Fixo ilimitado + Velox + TV (opcional)</a:t>
            </a:r>
          </a:p>
          <a:p>
            <a:pPr marL="457200" lvl="1">
              <a:lnSpc>
                <a:spcPct val="107000"/>
              </a:lnSpc>
            </a:pPr>
            <a:endParaRPr lang="pt-BR" sz="1200" dirty="0" smtClean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67618">
              <a:lnSpc>
                <a:spcPct val="107000"/>
              </a:lnSpc>
            </a:pP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xistem também </a:t>
            </a:r>
            <a:r>
              <a:rPr lang="pt-BR" sz="1200" dirty="0" err="1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oosters</a:t>
            </a: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ou também conhecidos como Add-Ons (complementos), que são planos opcionais para o cliente que podem ser incluídos nos planos #P deles.</a:t>
            </a:r>
          </a:p>
          <a:p>
            <a:pPr marL="67618">
              <a:lnSpc>
                <a:spcPct val="107000"/>
              </a:lnSpc>
            </a:pPr>
            <a:endParaRPr lang="pt-BR" sz="1200" dirty="0" smtClean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67618">
              <a:lnSpc>
                <a:spcPct val="107000"/>
              </a:lnSpc>
            </a:pP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ssim que o provisionamento seja feito no Siebel, estes planos terão uma configuração Siebel correspondente a qual é também necessária para o Arbor.</a:t>
            </a:r>
          </a:p>
        </p:txBody>
      </p:sp>
      <p:sp>
        <p:nvSpPr>
          <p:cNvPr id="17" name="Rectangle 16"/>
          <p:cNvSpPr/>
          <p:nvPr/>
        </p:nvSpPr>
        <p:spPr>
          <a:xfrm>
            <a:off x="1614015" y="4739839"/>
            <a:ext cx="7529985" cy="1870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67618">
              <a:lnSpc>
                <a:spcPct val="107000"/>
              </a:lnSpc>
            </a:pPr>
            <a:r>
              <a:rPr lang="pt-BR" sz="18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ecessidades para demanda do #P</a:t>
            </a:r>
          </a:p>
          <a:p>
            <a:pPr marL="67618">
              <a:lnSpc>
                <a:spcPct val="107000"/>
              </a:lnSpc>
            </a:pPr>
            <a:endParaRPr lang="pt-BR" sz="1800" b="1" dirty="0" smtClean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67618">
              <a:lnSpc>
                <a:spcPct val="107000"/>
              </a:lnSpc>
            </a:pP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om o crescimento do número de clientes aderindo à OI, a criação de planos #P foi proposta para diminuir o número de contas sendo criadas no sistema. Ao invés de criar diferentes contas por serviço, a configuração #P irá agrupar estes serviços. </a:t>
            </a:r>
          </a:p>
          <a:p>
            <a:pPr marL="67618">
              <a:lnSpc>
                <a:spcPct val="107000"/>
              </a:lnSpc>
            </a:pPr>
            <a:endParaRPr lang="pt-BR" sz="1200" dirty="0" smtClean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67618">
              <a:lnSpc>
                <a:spcPct val="107000"/>
              </a:lnSpc>
            </a:pP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ode ser identificado se as contas têm Planos #P verificando o TP_CLIENTE de CMF_JOIN_FAT3C; o valor deve ser igual a 1.</a:t>
            </a:r>
          </a:p>
        </p:txBody>
      </p:sp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1738908324"/>
              </p:ext>
            </p:extLst>
          </p:nvPr>
        </p:nvGraphicFramePr>
        <p:xfrm>
          <a:off x="206460" y="1562239"/>
          <a:ext cx="1073727" cy="108216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10" name="Diagram 9"/>
          <p:cNvGraphicFramePr/>
          <p:nvPr>
            <p:extLst>
              <p:ext uri="{D42A27DB-BD31-4B8C-83A1-F6EECF244321}">
                <p14:modId xmlns:p14="http://schemas.microsoft.com/office/powerpoint/2010/main" val="82110151"/>
              </p:ext>
            </p:extLst>
          </p:nvPr>
        </p:nvGraphicFramePr>
        <p:xfrm>
          <a:off x="97529" y="4166480"/>
          <a:ext cx="1461108" cy="97407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2277152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220" y="0"/>
            <a:ext cx="8708780" cy="1044000"/>
          </a:xfrm>
        </p:spPr>
        <p:txBody>
          <a:bodyPr>
            <a:normAutofit/>
          </a:bodyPr>
          <a:lstStyle/>
          <a:p>
            <a:r>
              <a:rPr lang="pt-BR" dirty="0" smtClean="0">
                <a:solidFill>
                  <a:schemeClr val="tx2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OS MÓD. DE CONFIGURAÇÃO 2P, 3P e 4P</a:t>
            </a:r>
            <a:endParaRPr lang="en-US" dirty="0">
              <a:solidFill>
                <a:schemeClr val="tx2">
                  <a:lumMod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866034" y="2331715"/>
            <a:ext cx="5847151" cy="26283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42950" lvl="1" indent="-285750">
              <a:lnSpc>
                <a:spcPct val="107000"/>
              </a:lnSpc>
              <a:buFont typeface="Courier New" panose="02070309020205020404" pitchFamily="49" charset="0"/>
              <a:buChar char="o"/>
            </a:pPr>
            <a:r>
              <a:rPr lang="pt-BR" sz="1600" b="1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nformação conceitual sobre os novos pacotes:</a:t>
            </a:r>
          </a:p>
          <a:p>
            <a:pPr marL="846781" lvl="2">
              <a:lnSpc>
                <a:spcPct val="107000"/>
              </a:lnSpc>
            </a:pPr>
            <a:endParaRPr lang="pt-BR" sz="1800" b="1" dirty="0" smtClean="0">
              <a:solidFill>
                <a:srgbClr val="FFFF0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846781" lvl="2">
              <a:lnSpc>
                <a:spcPct val="107000"/>
              </a:lnSpc>
            </a:pP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acotes 2P são os planos #P padrão que consistem em Planos de Fixo e Banda larga. </a:t>
            </a:r>
          </a:p>
          <a:p>
            <a:pPr marL="846781" lvl="2">
              <a:lnSpc>
                <a:spcPct val="107000"/>
              </a:lnSpc>
            </a:pPr>
            <a:endParaRPr lang="pt-BR" sz="1200" dirty="0" smtClean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846781" lvl="2">
              <a:lnSpc>
                <a:spcPct val="107000"/>
              </a:lnSpc>
            </a:pP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 provisionamento de Pacotes 2P inclui adicionar o pacote 3G requerido que irá determinar a velocidade do 3G. Isto é rotulado como Assinatura no Arbor, mas tem um produto correspondente no Siebel, que apresenta a velocidade do plano 3G (Mini Modem).</a:t>
            </a:r>
          </a:p>
          <a:p>
            <a:pPr marL="846781" lvl="2">
              <a:lnSpc>
                <a:spcPct val="107000"/>
              </a:lnSpc>
            </a:pPr>
            <a:endParaRPr lang="pt-BR" sz="1200" dirty="0" smtClean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846781" lvl="2">
              <a:lnSpc>
                <a:spcPct val="107000"/>
              </a:lnSpc>
            </a:pP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Um componente guia também precisa ser provisionado junto com o 3G para tarifar os usos consumidos.</a:t>
            </a:r>
          </a:p>
        </p:txBody>
      </p:sp>
      <p:sp>
        <p:nvSpPr>
          <p:cNvPr id="44" name="Rectangle 43"/>
          <p:cNvSpPr/>
          <p:nvPr/>
        </p:nvSpPr>
        <p:spPr>
          <a:xfrm>
            <a:off x="435220" y="1270160"/>
            <a:ext cx="266835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800" dirty="0" err="1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acotes</a:t>
            </a:r>
            <a:r>
              <a:rPr lang="en-US" sz="18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P – </a:t>
            </a:r>
            <a:r>
              <a:rPr lang="en-US" sz="1800" dirty="0" err="1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acotes</a:t>
            </a:r>
            <a:r>
              <a:rPr lang="en-US" sz="18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2P</a:t>
            </a:r>
            <a:endParaRPr lang="en-US" sz="18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Picture 2" descr="http://icons.iconseeker.com/png/fullsize/sticker-pack-1/package-2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5220" y="2147007"/>
            <a:ext cx="1738913" cy="17389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944051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>
                <a:solidFill>
                  <a:schemeClr val="tx2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OS MÓD. DE CONFIGURAÇÃO 2P, 3P e 4P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5221" y="1206003"/>
            <a:ext cx="8275803" cy="246221"/>
          </a:xfrm>
        </p:spPr>
        <p:txBody>
          <a:bodyPr/>
          <a:lstStyle/>
          <a:p>
            <a:pPr marL="0" indent="0">
              <a:buNone/>
            </a:pPr>
            <a:r>
              <a:rPr lang="en-US" dirty="0" err="1" smtClean="0"/>
              <a:t>Estrutura</a:t>
            </a:r>
            <a:r>
              <a:rPr lang="en-US" dirty="0" smtClean="0"/>
              <a:t> de 2P</a:t>
            </a:r>
            <a:endParaRPr lang="en-US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61574000"/>
              </p:ext>
            </p:extLst>
          </p:nvPr>
        </p:nvGraphicFramePr>
        <p:xfrm>
          <a:off x="435220" y="1862685"/>
          <a:ext cx="8275804" cy="2425940"/>
        </p:xfrm>
        <a:graphic>
          <a:graphicData uri="http://schemas.openxmlformats.org/drawingml/2006/table">
            <a:tbl>
              <a:tblPr>
                <a:tableStyleId>{69CF1AB2-1976-4502-BF36-3FF5EA218861}</a:tableStyleId>
              </a:tblPr>
              <a:tblGrid>
                <a:gridCol w="748096"/>
                <a:gridCol w="3304087"/>
                <a:gridCol w="4223621"/>
              </a:tblGrid>
              <a:tr h="22429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u="none" strike="noStrike" dirty="0" err="1">
                          <a:effectLst/>
                        </a:rPr>
                        <a:t>Tipo</a:t>
                      </a:r>
                      <a:endParaRPr lang="en-US" sz="14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55" marR="4055" marT="4055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u="none" strike="noStrike">
                          <a:effectLst/>
                        </a:rPr>
                        <a:t>Pacote</a:t>
                      </a:r>
                      <a:endParaRPr lang="en-US" sz="14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55" marR="4055" marT="4055" marB="0" anchor="b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u="none" strike="noStrike" dirty="0" err="1">
                          <a:effectLst/>
                        </a:rPr>
                        <a:t>Componente</a:t>
                      </a:r>
                      <a:endParaRPr lang="en-US" sz="14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55" marR="4055" marT="4055" marB="0" anchor="b">
                    <a:solidFill>
                      <a:srgbClr val="0070C0"/>
                    </a:solidFill>
                  </a:tcPr>
                </a:tc>
              </a:tr>
              <a:tr h="0">
                <a:tc rowSpan="7"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 err="1">
                          <a:effectLst/>
                        </a:rPr>
                        <a:t>Instância</a:t>
                      </a:r>
                      <a:endParaRPr lang="en-US" sz="14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55" marR="4055" marT="4055" marB="0" vert="vert27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400" u="none" strike="noStrike" dirty="0">
                          <a:effectLst/>
                        </a:rPr>
                        <a:t>Pacote Guia de Usos - Oi Móvel Mudo </a:t>
                      </a:r>
                      <a:r>
                        <a:rPr lang="pt-BR" sz="1400" u="none" strike="noStrike" dirty="0" smtClean="0">
                          <a:solidFill>
                            <a:srgbClr val="FF0000"/>
                          </a:solidFill>
                          <a:effectLst/>
                        </a:rPr>
                        <a:t>&lt;#&gt;</a:t>
                      </a:r>
                      <a:r>
                        <a:rPr lang="pt-BR" sz="1400" u="none" strike="noStrike" dirty="0" smtClean="0">
                          <a:effectLst/>
                        </a:rPr>
                        <a:t> </a:t>
                      </a:r>
                      <a:r>
                        <a:rPr lang="pt-BR" sz="1400" u="none" strike="noStrike" dirty="0">
                          <a:effectLst/>
                        </a:rPr>
                        <a:t>2P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55" marR="4055" marT="405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400" u="none" strike="noStrike" dirty="0">
                          <a:effectLst/>
                        </a:rPr>
                        <a:t>Guia de Uso Serviços Fixo - Oi Móvel Mudo </a:t>
                      </a:r>
                      <a:r>
                        <a:rPr lang="pt-BR" sz="1400" u="none" strike="noStrike" dirty="0" smtClean="0">
                          <a:solidFill>
                            <a:srgbClr val="FF0000"/>
                          </a:solidFill>
                          <a:effectLst/>
                        </a:rPr>
                        <a:t>&lt;#&gt;</a:t>
                      </a:r>
                      <a:r>
                        <a:rPr lang="pt-BR" sz="1400" u="none" strike="noStrike" dirty="0" smtClean="0">
                          <a:effectLst/>
                        </a:rPr>
                        <a:t> </a:t>
                      </a:r>
                      <a:r>
                        <a:rPr lang="pt-BR" sz="1400" u="none" strike="noStrike" dirty="0">
                          <a:effectLst/>
                        </a:rPr>
                        <a:t>2P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55" marR="4055" marT="4055" marB="0" anchor="b"/>
                </a:tc>
              </a:tr>
              <a:tr h="22429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</a:rPr>
                        <a:t>Oi Internet </a:t>
                      </a:r>
                      <a:r>
                        <a:rPr lang="en-US" sz="1400" u="none" strike="noStrike" dirty="0" err="1">
                          <a:effectLst/>
                        </a:rPr>
                        <a:t>Móvel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55" marR="4055" marT="405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Assinatura Oi Velox 3G **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55" marR="4055" marT="4055" marB="0" anchor="b"/>
                </a:tc>
              </a:tr>
              <a:tr h="22429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Oi Internet Móvel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55" marR="4055" marT="405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Componente Descrição Assinatura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55" marR="4055" marT="4055" marB="0" anchor="b"/>
                </a:tc>
              </a:tr>
              <a:tr h="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Oi Internet Móvel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55" marR="4055" marT="405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400" u="none" strike="noStrike">
                          <a:effectLst/>
                        </a:rPr>
                        <a:t>Componente Franquia *** GB - plano Oi Velox Plug</a:t>
                      </a:r>
                      <a:endParaRPr lang="pt-BR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55" marR="4055" marT="4055" marB="0" anchor="b"/>
                </a:tc>
              </a:tr>
              <a:tr h="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Oi Internet Móvel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55" marR="4055" marT="405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400" u="none" strike="noStrike">
                          <a:effectLst/>
                        </a:rPr>
                        <a:t>Componente Guia de uso 3G 10 GB - plano Oi Velox Plug</a:t>
                      </a:r>
                      <a:endParaRPr lang="pt-BR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55" marR="4055" marT="4055" marB="0" anchor="b"/>
                </a:tc>
              </a:tr>
              <a:tr h="22429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Oi Internet Móvel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55" marR="4055" marT="405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400" u="none" strike="noStrike">
                          <a:effectLst/>
                        </a:rPr>
                        <a:t>Componente Guia de uso 2G 10 GB - 3G</a:t>
                      </a:r>
                      <a:endParaRPr lang="pt-BR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55" marR="4055" marT="4055" marB="0" anchor="b"/>
                </a:tc>
              </a:tr>
              <a:tr h="22429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Oi Internet Móvel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55" marR="4055" marT="405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Oi Torpedo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55" marR="4055" marT="4055" marB="0" anchor="b"/>
                </a:tc>
              </a:tr>
              <a:tr h="0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>
                          <a:effectLst/>
                        </a:rPr>
                        <a:t>Conta</a:t>
                      </a:r>
                      <a:endParaRPr lang="en-US" sz="1400" b="0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55" marR="4055" marT="4055" marB="0" vert="vert27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</a:rPr>
                        <a:t>Oi Velox                                                    </a:t>
                      </a:r>
                      <a:r>
                        <a:rPr lang="en-US" sz="1400" u="none" strike="noStrike" dirty="0" smtClean="0">
                          <a:solidFill>
                            <a:srgbClr val="FF0000"/>
                          </a:solidFill>
                          <a:effectLst/>
                        </a:rPr>
                        <a:t>&lt;UF&gt;</a:t>
                      </a:r>
                      <a:endParaRPr lang="en-US" sz="1400" b="0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55" marR="4055" marT="405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Assinatura Oi Velox 30 Mb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55" marR="4055" marT="4055" marB="0" anchor="b"/>
                </a:tc>
              </a:tr>
              <a:tr h="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</a:rPr>
                        <a:t>Oi </a:t>
                      </a:r>
                      <a:r>
                        <a:rPr lang="en-US" sz="1400" u="none" strike="noStrike" dirty="0" err="1">
                          <a:effectLst/>
                        </a:rPr>
                        <a:t>Fixo</a:t>
                      </a:r>
                      <a:r>
                        <a:rPr lang="en-US" sz="1400" u="none" strike="noStrike" dirty="0">
                          <a:effectLst/>
                        </a:rPr>
                        <a:t>                                                     </a:t>
                      </a:r>
                      <a:r>
                        <a:rPr lang="en-US" sz="1400" u="none" strike="noStrike" dirty="0" smtClean="0">
                          <a:solidFill>
                            <a:srgbClr val="FF0000"/>
                          </a:solidFill>
                          <a:effectLst/>
                        </a:rPr>
                        <a:t>&lt;UF&gt;</a:t>
                      </a:r>
                      <a:endParaRPr lang="en-US" sz="1400" b="0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55" marR="4055" marT="405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Assinatura Oi Fixo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55" marR="4055" marT="4055" marB="0" anchor="b"/>
                </a:tc>
              </a:tr>
              <a:tr h="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779163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u="none" strike="noStrike" dirty="0">
                          <a:effectLst/>
                        </a:rPr>
                        <a:t>Oi </a:t>
                      </a:r>
                      <a:r>
                        <a:rPr lang="en-US" sz="1400" u="none" strike="noStrike" dirty="0" err="1">
                          <a:effectLst/>
                        </a:rPr>
                        <a:t>Fixo</a:t>
                      </a:r>
                      <a:r>
                        <a:rPr lang="en-US" sz="1400" u="none" strike="noStrike" dirty="0">
                          <a:effectLst/>
                        </a:rPr>
                        <a:t>                                                     </a:t>
                      </a:r>
                      <a:r>
                        <a:rPr lang="en-US" sz="1400" u="none" strike="noStrike" dirty="0" smtClean="0">
                          <a:solidFill>
                            <a:srgbClr val="FF0000"/>
                          </a:solidFill>
                          <a:effectLst/>
                        </a:rPr>
                        <a:t>&lt;UF&gt;</a:t>
                      </a:r>
                      <a:endParaRPr lang="en-US" sz="1400" b="0" i="0" u="none" strike="noStrike" dirty="0" smtClean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55" marR="4055" marT="405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400" u="none" strike="noStrike" dirty="0">
                          <a:effectLst/>
                        </a:rPr>
                        <a:t>Ligações locais do seu Fixo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55" marR="4055" marT="4055" marB="0" anchor="b"/>
                </a:tc>
              </a:tr>
            </a:tbl>
          </a:graphicData>
        </a:graphic>
      </p:graphicFrame>
      <p:graphicFrame>
        <p:nvGraphicFramePr>
          <p:cNvPr id="8" name="Object 7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008208347"/>
              </p:ext>
            </p:extLst>
          </p:nvPr>
        </p:nvGraphicFramePr>
        <p:xfrm>
          <a:off x="4115922" y="5194156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8" name="Worksheet" showAsIcon="1" r:id="rId3" imgW="914400" imgH="771480" progId="Excel.Sheet.12">
                  <p:embed/>
                </p:oleObj>
              </mc:Choice>
              <mc:Fallback>
                <p:oleObj name="Worksheet" showAsIcon="1" r:id="rId3" imgW="914400" imgH="77148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4115922" y="5194156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2545772" y="6096950"/>
            <a:ext cx="457200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pt-BR" sz="1400" dirty="0" smtClean="0">
                <a:latin typeface="Arial" pitchFamily="34" charset="0"/>
                <a:cs typeface="Arial" pitchFamily="34" charset="0"/>
              </a:rPr>
              <a:t>Lista de todos os pacotes e Componentes para 2P</a:t>
            </a:r>
            <a:endParaRPr lang="pt-BR" sz="14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911145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>
                <a:solidFill>
                  <a:schemeClr val="tx2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OS MÓD. DE CONFIGURAÇÃO 2P, 3P e 4P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5221" y="1206003"/>
            <a:ext cx="8275803" cy="246221"/>
          </a:xfrm>
        </p:spPr>
        <p:txBody>
          <a:bodyPr/>
          <a:lstStyle/>
          <a:p>
            <a:pPr marL="0" indent="0">
              <a:buNone/>
            </a:pPr>
            <a:r>
              <a:rPr lang="pt-BR" dirty="0" smtClean="0"/>
              <a:t>Exemplo de 2P Provisionado na Conta</a:t>
            </a:r>
            <a:endParaRPr lang="pt-BR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56406227"/>
              </p:ext>
            </p:extLst>
          </p:nvPr>
        </p:nvGraphicFramePr>
        <p:xfrm>
          <a:off x="435220" y="1614227"/>
          <a:ext cx="8178843" cy="401712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082703"/>
                <a:gridCol w="861595"/>
                <a:gridCol w="1496291"/>
                <a:gridCol w="1226127"/>
                <a:gridCol w="2431473"/>
                <a:gridCol w="1080654"/>
              </a:tblGrid>
              <a:tr h="288159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u="none" strike="noStrike" dirty="0">
                          <a:effectLst/>
                        </a:rPr>
                        <a:t>TIPO_SERVICO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717" marR="3717" marT="3717" marB="0" anchor="b">
                    <a:solidFill>
                      <a:srgbClr val="408FCD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u="none" strike="noStrike">
                          <a:effectLst/>
                        </a:rPr>
                        <a:t>PACKAGE_ID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717" marR="3717" marT="3717" marB="0" anchor="b">
                    <a:solidFill>
                      <a:srgbClr val="408FCD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u="none" strike="noStrike" dirty="0">
                          <a:effectLst/>
                        </a:rPr>
                        <a:t>PACKAGE_DESCR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717" marR="3717" marT="3717" marB="0" anchor="b">
                    <a:solidFill>
                      <a:srgbClr val="408FCD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u="none" strike="noStrike" dirty="0">
                          <a:effectLst/>
                        </a:rPr>
                        <a:t>COMPONENT_ID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717" marR="3717" marT="3717" marB="0" anchor="b">
                    <a:solidFill>
                      <a:srgbClr val="408FCD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u="none" strike="noStrike" dirty="0">
                          <a:effectLst/>
                        </a:rPr>
                        <a:t>COMPONENT_DESCR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717" marR="3717" marT="3717" marB="0" anchor="b">
                    <a:solidFill>
                      <a:srgbClr val="408FCD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u="none" strike="noStrike" dirty="0">
                          <a:effectLst/>
                        </a:rPr>
                        <a:t>NIVEL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717" marR="3717" marT="3717" marB="0" anchor="b">
                    <a:solidFill>
                      <a:srgbClr val="408FCD"/>
                    </a:solidFill>
                  </a:tcPr>
                </a:tc>
              </a:tr>
              <a:tr h="288159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SIMCard - Minas Gerais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717" marR="3717" marT="371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20146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717" marR="3717" marT="371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 err="1">
                          <a:effectLst/>
                        </a:rPr>
                        <a:t>Oi</a:t>
                      </a:r>
                      <a:r>
                        <a:rPr lang="en-US" sz="1100" u="none" strike="noStrike" dirty="0">
                          <a:effectLst/>
                        </a:rPr>
                        <a:t> Dados </a:t>
                      </a:r>
                      <a:r>
                        <a:rPr lang="en-US" sz="1100" u="none" strike="noStrike" dirty="0" err="1">
                          <a:effectLst/>
                        </a:rPr>
                        <a:t>Avulsos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717" marR="3717" marT="371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20674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717" marR="3717" marT="371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100" u="none" strike="noStrike">
                          <a:effectLst/>
                        </a:rPr>
                        <a:t>Componente de Oi Dados Avulsos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717" marR="3717" marT="371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 err="1" smtClean="0">
                          <a:solidFill>
                            <a:schemeClr val="tx1"/>
                          </a:solidFill>
                          <a:effectLst/>
                        </a:rPr>
                        <a:t>Nível</a:t>
                      </a:r>
                      <a:r>
                        <a:rPr lang="en-US" sz="110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100" u="none" strike="noStrike" dirty="0" err="1" smtClean="0">
                          <a:solidFill>
                            <a:schemeClr val="tx1"/>
                          </a:solidFill>
                          <a:effectLst/>
                        </a:rPr>
                        <a:t>Serviço</a:t>
                      </a: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717" marR="3717" marT="3717" marB="0" anchor="b"/>
                </a:tc>
              </a:tr>
              <a:tr h="288159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SIMCard - Minas Gerais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717" marR="3717" marT="371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32276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717" marR="3717" marT="371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100" u="none" strike="noStrike">
                          <a:effectLst/>
                        </a:rPr>
                        <a:t>Pacote Guia de Usos - Oi Móvel Mudo 1 2P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717" marR="3717" marT="371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54490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717" marR="3717" marT="371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100" u="none" strike="noStrike">
                          <a:effectLst/>
                        </a:rPr>
                        <a:t>Guia de Uso Serviços Fixo - Oi Móvel Mudo 1 2P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717" marR="3717" marT="371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 err="1" smtClean="0">
                          <a:solidFill>
                            <a:schemeClr val="tx1"/>
                          </a:solidFill>
                          <a:effectLst/>
                        </a:rPr>
                        <a:t>Nível</a:t>
                      </a:r>
                      <a:r>
                        <a:rPr lang="en-US" sz="110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100" u="none" strike="noStrike" dirty="0" err="1" smtClean="0">
                          <a:solidFill>
                            <a:schemeClr val="tx1"/>
                          </a:solidFill>
                          <a:effectLst/>
                        </a:rPr>
                        <a:t>Serviço</a:t>
                      </a: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717" marR="3717" marT="3717" marB="0" anchor="b"/>
                </a:tc>
              </a:tr>
              <a:tr h="288159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SIMCard - Minas Gerais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717" marR="3717" marT="371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 dirty="0">
                          <a:effectLst/>
                        </a:rPr>
                        <a:t>21438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717" marR="3717" marT="371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 err="1">
                          <a:effectLst/>
                        </a:rPr>
                        <a:t>Oi</a:t>
                      </a:r>
                      <a:r>
                        <a:rPr lang="en-US" sz="1100" u="none" strike="noStrike" dirty="0">
                          <a:effectLst/>
                        </a:rPr>
                        <a:t> Internet </a:t>
                      </a:r>
                      <a:r>
                        <a:rPr lang="en-US" sz="1100" u="none" strike="noStrike" dirty="0" err="1">
                          <a:effectLst/>
                        </a:rPr>
                        <a:t>Móvel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717" marR="3717" marT="371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27850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717" marR="3717" marT="371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Componente Descrição Assinatura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717" marR="3717" marT="371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 err="1" smtClean="0">
                          <a:solidFill>
                            <a:schemeClr val="tx1"/>
                          </a:solidFill>
                          <a:effectLst/>
                        </a:rPr>
                        <a:t>Nível</a:t>
                      </a:r>
                      <a:r>
                        <a:rPr lang="en-US" sz="110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100" u="none" strike="noStrike" dirty="0" err="1" smtClean="0">
                          <a:solidFill>
                            <a:schemeClr val="tx1"/>
                          </a:solidFill>
                          <a:effectLst/>
                        </a:rPr>
                        <a:t>Serviço</a:t>
                      </a: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717" marR="3717" marT="3717" marB="0" anchor="b"/>
                </a:tc>
              </a:tr>
              <a:tr h="288159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SIMCard - Minas Gerais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717" marR="3717" marT="371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21438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717" marR="3717" marT="371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Oi Internet </a:t>
                      </a:r>
                      <a:r>
                        <a:rPr lang="en-US" sz="1100" u="none" strike="noStrike" dirty="0" err="1">
                          <a:effectLst/>
                        </a:rPr>
                        <a:t>Móvel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717" marR="3717" marT="371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55162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717" marR="3717" marT="371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Oi Torpedo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717" marR="3717" marT="371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 err="1" smtClean="0">
                          <a:solidFill>
                            <a:schemeClr val="tx1"/>
                          </a:solidFill>
                          <a:effectLst/>
                        </a:rPr>
                        <a:t>Nível</a:t>
                      </a:r>
                      <a:r>
                        <a:rPr lang="en-US" sz="110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100" u="none" strike="noStrike" dirty="0" err="1" smtClean="0">
                          <a:solidFill>
                            <a:schemeClr val="tx1"/>
                          </a:solidFill>
                          <a:effectLst/>
                        </a:rPr>
                        <a:t>Serviço</a:t>
                      </a: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717" marR="3717" marT="3717" marB="0" anchor="b"/>
                </a:tc>
              </a:tr>
              <a:tr h="288159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SIMCard - Minas Gerais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717" marR="3717" marT="371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21438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717" marR="3717" marT="371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Oi Internet Móvel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717" marR="3717" marT="371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55180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717" marR="3717" marT="371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Assinatura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717" marR="3717" marT="371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 err="1" smtClean="0">
                          <a:solidFill>
                            <a:schemeClr val="tx1"/>
                          </a:solidFill>
                          <a:effectLst/>
                        </a:rPr>
                        <a:t>Nível</a:t>
                      </a:r>
                      <a:r>
                        <a:rPr lang="en-US" sz="110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100" u="none" strike="noStrike" dirty="0" err="1" smtClean="0">
                          <a:solidFill>
                            <a:schemeClr val="tx1"/>
                          </a:solidFill>
                          <a:effectLst/>
                        </a:rPr>
                        <a:t>Serviço</a:t>
                      </a: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717" marR="3717" marT="3717" marB="0" anchor="b"/>
                </a:tc>
              </a:tr>
              <a:tr h="288159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SIMCard - Minas Gerais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717" marR="3717" marT="371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21438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717" marR="3717" marT="371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Oi Internet Móvel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717" marR="3717" marT="371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55183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717" marR="3717" marT="371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100" u="none" strike="noStrike">
                          <a:effectLst/>
                        </a:rPr>
                        <a:t>Componente Guia de Uso 2G Com Downgrade - Plano Oi Velox 3G 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717" marR="3717" marT="371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 err="1" smtClean="0">
                          <a:solidFill>
                            <a:schemeClr val="tx1"/>
                          </a:solidFill>
                          <a:effectLst/>
                        </a:rPr>
                        <a:t>Nível</a:t>
                      </a:r>
                      <a:r>
                        <a:rPr lang="en-US" sz="110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100" u="none" strike="noStrike" dirty="0" err="1" smtClean="0">
                          <a:solidFill>
                            <a:schemeClr val="tx1"/>
                          </a:solidFill>
                          <a:effectLst/>
                        </a:rPr>
                        <a:t>Serviço</a:t>
                      </a: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717" marR="3717" marT="3717" marB="0" anchor="b"/>
                </a:tc>
              </a:tr>
              <a:tr h="288159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SIMCard - Minas Gerais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717" marR="3717" marT="371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21438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717" marR="3717" marT="371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Oi Internet Móvel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717" marR="3717" marT="371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55184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717" marR="3717" marT="371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100" u="none" strike="noStrike">
                          <a:effectLst/>
                        </a:rPr>
                        <a:t>Componente Guia de Uso 3G Com Downgrade - Plano Oi Velox 3G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717" marR="3717" marT="371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 err="1" smtClean="0">
                          <a:solidFill>
                            <a:schemeClr val="tx1"/>
                          </a:solidFill>
                          <a:effectLst/>
                        </a:rPr>
                        <a:t>Nível</a:t>
                      </a:r>
                      <a:r>
                        <a:rPr lang="en-US" sz="110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100" u="none" strike="noStrike" dirty="0" err="1" smtClean="0">
                          <a:solidFill>
                            <a:schemeClr val="tx1"/>
                          </a:solidFill>
                          <a:effectLst/>
                        </a:rPr>
                        <a:t>Serviço</a:t>
                      </a: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717" marR="3717" marT="3717" marB="0" anchor="b"/>
                </a:tc>
              </a:tr>
              <a:tr h="288159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SIMCard - Minas Gerais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717" marR="3717" marT="371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21438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717" marR="3717" marT="371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Oi Internet Móvel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717" marR="3717" marT="371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55186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717" marR="3717" marT="371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100" u="none" strike="noStrike">
                          <a:effectLst/>
                        </a:rPr>
                        <a:t>Componente Franquia Fake - Planos com Redução de Velocidade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717" marR="3717" marT="371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 err="1" smtClean="0">
                          <a:solidFill>
                            <a:schemeClr val="tx1"/>
                          </a:solidFill>
                          <a:effectLst/>
                        </a:rPr>
                        <a:t>Nível</a:t>
                      </a:r>
                      <a:r>
                        <a:rPr lang="en-US" sz="110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100" u="none" strike="noStrike" dirty="0" err="1" smtClean="0">
                          <a:solidFill>
                            <a:schemeClr val="tx1"/>
                          </a:solidFill>
                          <a:effectLst/>
                        </a:rPr>
                        <a:t>Serviço</a:t>
                      </a: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717" marR="3717" marT="3717" marB="0" anchor="b"/>
                </a:tc>
              </a:tr>
              <a:tr h="239212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 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717" marR="3717" marT="371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30380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717" marR="3717" marT="371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Oi Fixo                                                     MG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717" marR="3717" marT="371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52011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717" marR="3717" marT="371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Assinatura Oi Fixo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717" marR="3717" marT="371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u="none" strike="noStrike" dirty="0" smtClean="0">
                        <a:solidFill>
                          <a:schemeClr val="tx1"/>
                        </a:solidFill>
                        <a:effectLst/>
                      </a:endParaRPr>
                    </a:p>
                    <a:p>
                      <a:pPr algn="l" fontAlgn="b"/>
                      <a:r>
                        <a:rPr lang="en-US" sz="1100" u="none" strike="noStrike" dirty="0" err="1" smtClean="0">
                          <a:solidFill>
                            <a:schemeClr val="tx1"/>
                          </a:solidFill>
                          <a:effectLst/>
                        </a:rPr>
                        <a:t>Nível</a:t>
                      </a:r>
                      <a:r>
                        <a:rPr lang="en-US" sz="110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100" u="none" strike="noStrike" dirty="0" err="1" smtClean="0">
                          <a:solidFill>
                            <a:schemeClr val="tx1"/>
                          </a:solidFill>
                          <a:effectLst/>
                        </a:rPr>
                        <a:t>Conta</a:t>
                      </a:r>
                      <a:endParaRPr lang="en-US" sz="1100" u="none" strike="noStrike" dirty="0" smtClean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3717" marR="3717" marT="3717" marB="0" anchor="b"/>
                </a:tc>
              </a:tr>
              <a:tr h="239212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 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717" marR="3717" marT="371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30380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717" marR="3717" marT="371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Oi Fixo                                                     MG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717" marR="3717" marT="371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52038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717" marR="3717" marT="371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100" u="none" strike="noStrike">
                          <a:effectLst/>
                        </a:rPr>
                        <a:t>Ligações locais do seu Fixo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717" marR="3717" marT="371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 err="1" smtClean="0">
                          <a:solidFill>
                            <a:schemeClr val="tx1"/>
                          </a:solidFill>
                          <a:effectLst/>
                        </a:rPr>
                        <a:t>Nível</a:t>
                      </a:r>
                      <a:r>
                        <a:rPr lang="en-US" sz="110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100" u="none" strike="noStrike" dirty="0" err="1" smtClean="0">
                          <a:solidFill>
                            <a:schemeClr val="tx1"/>
                          </a:solidFill>
                          <a:effectLst/>
                        </a:rPr>
                        <a:t>Conta</a:t>
                      </a:r>
                      <a:endParaRPr lang="en-US" sz="1100" u="none" strike="noStrike" dirty="0" smtClean="0">
                        <a:solidFill>
                          <a:schemeClr val="tx1"/>
                        </a:solidFill>
                        <a:effectLst/>
                      </a:endParaRPr>
                    </a:p>
                    <a:p>
                      <a:pPr algn="l" fontAlgn="b"/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717" marR="3717" marT="3717" marB="0" anchor="b"/>
                </a:tc>
              </a:tr>
              <a:tr h="239212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 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717" marR="3717" marT="371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30677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717" marR="3717" marT="371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Oi Velox                                                    MG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717" marR="3717" marT="371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52510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717" marR="3717" marT="371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Assinatura Oi Velox 5 Mb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717" marR="3717" marT="371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 err="1" smtClean="0">
                          <a:solidFill>
                            <a:schemeClr val="tx1"/>
                          </a:solidFill>
                          <a:effectLst/>
                        </a:rPr>
                        <a:t>Nível</a:t>
                      </a:r>
                      <a:r>
                        <a:rPr lang="en-US" sz="110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100" u="none" strike="noStrike" dirty="0" err="1" smtClean="0">
                          <a:solidFill>
                            <a:schemeClr val="tx1"/>
                          </a:solidFill>
                          <a:effectLst/>
                        </a:rPr>
                        <a:t>Conta</a:t>
                      </a:r>
                      <a:endParaRPr lang="en-US" sz="1100" u="none" strike="noStrike" dirty="0" smtClean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3717" marR="3717" marT="3717" marB="0" anchor="b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225351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220" y="0"/>
            <a:ext cx="8708780" cy="1044000"/>
          </a:xfrm>
        </p:spPr>
        <p:txBody>
          <a:bodyPr>
            <a:normAutofit/>
          </a:bodyPr>
          <a:lstStyle/>
          <a:p>
            <a:r>
              <a:rPr lang="pt-BR" dirty="0" smtClean="0">
                <a:solidFill>
                  <a:schemeClr val="tx2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OS MÓD. DE CONFIGURAÇÃO 2P, 3P e 4P</a:t>
            </a:r>
            <a:endParaRPr lang="en-US" dirty="0">
              <a:solidFill>
                <a:schemeClr val="tx2">
                  <a:lumMod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4" name="Rectangle 43"/>
          <p:cNvSpPr/>
          <p:nvPr/>
        </p:nvSpPr>
        <p:spPr>
          <a:xfrm>
            <a:off x="435220" y="1270160"/>
            <a:ext cx="266835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800" dirty="0" err="1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acotes</a:t>
            </a:r>
            <a:r>
              <a:rPr lang="en-US" sz="18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P – </a:t>
            </a:r>
            <a:r>
              <a:rPr lang="en-US" sz="1800" dirty="0" err="1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acotes</a:t>
            </a:r>
            <a:r>
              <a:rPr lang="en-US" sz="18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3P</a:t>
            </a:r>
            <a:endParaRPr lang="en-US" sz="18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Picture 2" descr="http://icons.iconseeker.com/png/fullsize/sticker-pack-1/package-2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5220" y="2147007"/>
            <a:ext cx="1738913" cy="17389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1"/>
          <p:cNvSpPr>
            <a:spLocks noChangeArrowheads="1"/>
          </p:cNvSpPr>
          <p:nvPr/>
        </p:nvSpPr>
        <p:spPr bwMode="auto">
          <a:xfrm>
            <a:off x="1641588" y="72305"/>
            <a:ext cx="6071597" cy="553998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t-BR" altLang="en-US" sz="1200" b="0" i="0" u="none" strike="noStrike" cap="none" normalizeH="0" baseline="0" dirty="0" smtClean="0">
                <a:ln>
                  <a:noFill/>
                </a:ln>
                <a:solidFill>
                  <a:srgbClr val="212121"/>
                </a:solidFill>
                <a:effectLst/>
                <a:latin typeface="inherit"/>
              </a:rPr>
              <a:t>São requeridos ADSL fixo ou</a:t>
            </a:r>
            <a:r>
              <a:rPr kumimoji="0" lang="pt-BR" altLang="en-US" sz="1200" b="0" i="0" u="none" strike="noStrike" cap="none" normalizeH="0" dirty="0" smtClean="0">
                <a:ln>
                  <a:noFill/>
                </a:ln>
                <a:solidFill>
                  <a:srgbClr val="212121"/>
                </a:solidFill>
                <a:effectLst/>
                <a:latin typeface="inherit"/>
              </a:rPr>
              <a:t> Substituo 3G, Opcional TV, 3G Complementar, Add</a:t>
            </a:r>
            <a:r>
              <a:rPr kumimoji="0" lang="pt-BR" altLang="en-US" sz="1200" b="0" i="0" u="none" strike="noStrike" cap="none" normalizeH="0" baseline="0" dirty="0" smtClean="0">
                <a:ln>
                  <a:noFill/>
                </a:ln>
                <a:solidFill>
                  <a:srgbClr val="212121"/>
                </a:solidFill>
                <a:effectLst/>
                <a:latin typeface="inherit"/>
              </a:rPr>
              <a:t>-on NB: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t-BR" altLang="en-US" sz="1200" b="0" i="0" u="none" strike="noStrike" cap="none" normalizeH="0" baseline="0" dirty="0" smtClean="0">
                <a:ln>
                  <a:noFill/>
                </a:ln>
                <a:solidFill>
                  <a:srgbClr val="212121"/>
                </a:solidFill>
                <a:effectLst/>
                <a:latin typeface="inherit"/>
              </a:rPr>
              <a:t>É obrigatório ter o elemento "Chip </a:t>
            </a:r>
            <a:r>
              <a:rPr kumimoji="0" lang="pt-BR" altLang="en-US" sz="1200" b="0" i="0" u="none" strike="noStrike" cap="none" normalizeH="0" baseline="0" dirty="0" err="1" smtClean="0">
                <a:ln>
                  <a:noFill/>
                </a:ln>
                <a:solidFill>
                  <a:srgbClr val="212121"/>
                </a:solidFill>
                <a:effectLst/>
                <a:latin typeface="inherit"/>
              </a:rPr>
              <a:t>Alone</a:t>
            </a:r>
            <a:r>
              <a:rPr kumimoji="0" lang="pt-BR" altLang="en-US" sz="1200" b="0" i="0" u="none" strike="noStrike" cap="none" normalizeH="0" baseline="0" dirty="0" smtClean="0">
                <a:ln>
                  <a:noFill/>
                </a:ln>
                <a:solidFill>
                  <a:srgbClr val="212121"/>
                </a:solidFill>
                <a:effectLst/>
                <a:latin typeface="inherit"/>
              </a:rPr>
              <a:t>" na oferta selecionada.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t-BR" altLang="en-US" sz="1200" b="0" i="0" u="none" strike="noStrike" cap="none" normalizeH="0" baseline="0" dirty="0" smtClean="0">
                <a:ln>
                  <a:noFill/>
                </a:ln>
                <a:solidFill>
                  <a:srgbClr val="212121"/>
                </a:solidFill>
                <a:effectLst/>
                <a:latin typeface="inherit"/>
              </a:rPr>
              <a:t>É necessário que a oferta tenha um produto web para a configuração 3G</a:t>
            </a:r>
            <a:endParaRPr kumimoji="0" lang="pt-BR" alt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2286000" y="2137204"/>
            <a:ext cx="4572000" cy="2431820"/>
          </a:xfrm>
          <a:prstGeom prst="rect">
            <a:avLst/>
          </a:prstGeom>
        </p:spPr>
        <p:txBody>
          <a:bodyPr>
            <a:spAutoFit/>
          </a:bodyPr>
          <a:lstStyle/>
          <a:p>
            <a:pPr marL="742950" lvl="1" indent="-285750">
              <a:lnSpc>
                <a:spcPct val="107000"/>
              </a:lnSpc>
              <a:buFont typeface="Courier New" panose="02070309020205020404" pitchFamily="49" charset="0"/>
              <a:buChar char="o"/>
            </a:pPr>
            <a:r>
              <a:rPr lang="pt-BR" sz="1600" b="1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nformação </a:t>
            </a:r>
            <a:r>
              <a:rPr lang="pt-BR" sz="16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onceitual sobre os novos pacotes:</a:t>
            </a:r>
          </a:p>
          <a:p>
            <a:pPr marL="846781" lvl="2">
              <a:lnSpc>
                <a:spcPct val="107000"/>
              </a:lnSpc>
            </a:pPr>
            <a:endParaRPr lang="pt-BR" sz="1800" b="1" dirty="0">
              <a:solidFill>
                <a:srgbClr val="FFFF0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846781" lvl="2">
              <a:lnSpc>
                <a:spcPct val="107000"/>
              </a:lnSpc>
            </a:pPr>
            <a:r>
              <a:rPr lang="pt-BR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acotes </a:t>
            </a:r>
            <a:r>
              <a:rPr lang="pt-BR" sz="12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3P </a:t>
            </a:r>
            <a:r>
              <a:rPr lang="pt-BR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ão os planos #P padrão que consistem em Planos de Fixo e Banda larga. </a:t>
            </a:r>
          </a:p>
          <a:p>
            <a:pPr marL="846781" lvl="2">
              <a:lnSpc>
                <a:spcPct val="107000"/>
              </a:lnSpc>
            </a:pPr>
            <a:endParaRPr lang="pt-BR" sz="12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t-BR" altLang="en-US" sz="1200" dirty="0">
                <a:solidFill>
                  <a:srgbClr val="212121"/>
                </a:solidFill>
                <a:latin typeface="inherit"/>
              </a:rPr>
              <a:t>São requeridos ADSL fixo ou Substituo 3G, Opcional TV, 3G Complementar, Add-on NB: </a:t>
            </a:r>
          </a:p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t-BR" altLang="en-US" sz="1200" dirty="0">
                <a:solidFill>
                  <a:srgbClr val="212121"/>
                </a:solidFill>
                <a:latin typeface="inherit"/>
              </a:rPr>
              <a:t>É obrigatório ter o elemento "Chip </a:t>
            </a:r>
            <a:r>
              <a:rPr lang="pt-BR" altLang="en-US" sz="1200" dirty="0" err="1">
                <a:solidFill>
                  <a:srgbClr val="212121"/>
                </a:solidFill>
                <a:latin typeface="inherit"/>
              </a:rPr>
              <a:t>Alone</a:t>
            </a:r>
            <a:r>
              <a:rPr lang="pt-BR" altLang="en-US" sz="1200" dirty="0">
                <a:solidFill>
                  <a:srgbClr val="212121"/>
                </a:solidFill>
                <a:latin typeface="inherit"/>
              </a:rPr>
              <a:t>" na oferta selecionada. </a:t>
            </a:r>
          </a:p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t-BR" altLang="en-US" sz="1200" dirty="0">
                <a:solidFill>
                  <a:srgbClr val="212121"/>
                </a:solidFill>
                <a:latin typeface="inherit"/>
              </a:rPr>
              <a:t>É necessário que a oferta tenha um produto web para a configuração 3G</a:t>
            </a:r>
            <a:endParaRPr lang="en-US" sz="12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642990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>
                <a:solidFill>
                  <a:schemeClr val="tx2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OS MÓD. DE CONFIGURAÇÃO 2P, 3P e 4P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5221" y="1206003"/>
            <a:ext cx="8275803" cy="246221"/>
          </a:xfrm>
        </p:spPr>
        <p:txBody>
          <a:bodyPr/>
          <a:lstStyle/>
          <a:p>
            <a:pPr marL="0" indent="0">
              <a:buNone/>
            </a:pPr>
            <a:r>
              <a:rPr lang="en-US" dirty="0" err="1" smtClean="0"/>
              <a:t>Estrutura</a:t>
            </a:r>
            <a:r>
              <a:rPr lang="en-US" dirty="0" smtClean="0"/>
              <a:t> de 3P</a:t>
            </a:r>
            <a:endParaRPr lang="en-US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65239083"/>
              </p:ext>
            </p:extLst>
          </p:nvPr>
        </p:nvGraphicFramePr>
        <p:xfrm>
          <a:off x="435219" y="1452219"/>
          <a:ext cx="8210018" cy="301327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487135"/>
                <a:gridCol w="1487135"/>
                <a:gridCol w="1487135"/>
                <a:gridCol w="3748613"/>
              </a:tblGrid>
              <a:tr h="157012">
                <a:tc>
                  <a:txBody>
                    <a:bodyPr/>
                    <a:lstStyle/>
                    <a:p>
                      <a:pPr marL="0" algn="l" defTabSz="779163" rtl="0" eaLnBrk="1" fontAlgn="b" latinLnBrk="0" hangingPunct="1"/>
                      <a:r>
                        <a:rPr lang="en-US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IPO</a:t>
                      </a:r>
                      <a:endParaRPr lang="en-US" sz="11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779163" rtl="0" eaLnBrk="1" fontAlgn="b" latinLnBrk="0" hangingPunct="1"/>
                      <a:r>
                        <a:rPr lang="en-US" sz="110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oduto</a:t>
                      </a:r>
                      <a:endParaRPr lang="en-US" sz="11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779163" rtl="0" eaLnBrk="1" fontAlgn="b" latinLnBrk="0" hangingPunct="1"/>
                      <a:r>
                        <a:rPr lang="en-US" sz="110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ome do Pacote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779163" rtl="0" eaLnBrk="1" fontAlgn="b" latinLnBrk="0" hangingPunct="1"/>
                      <a:r>
                        <a:rPr lang="en-US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ome do </a:t>
                      </a:r>
                      <a:r>
                        <a:rPr lang="en-US" sz="110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mponente</a:t>
                      </a:r>
                      <a:endParaRPr lang="en-US" sz="11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</a:tr>
              <a:tr h="157012">
                <a:tc rowSpan="11"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dirty="0" err="1" smtClean="0">
                          <a:effectLst/>
                        </a:rPr>
                        <a:t>Instância</a:t>
                      </a:r>
                      <a:endParaRPr lang="en-US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ctr">
                    <a:lnL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marL="0" algn="l" defTabSz="779163" rtl="0" eaLnBrk="1" fontAlgn="b" latinLnBrk="0" hangingPunct="1"/>
                      <a:r>
                        <a:rPr lang="en-US" sz="100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uia</a:t>
                      </a:r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de </a:t>
                      </a:r>
                      <a:r>
                        <a:rPr lang="en-US" sz="100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sos</a:t>
                      </a:r>
                      <a:endParaRPr lang="en-US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marL="0" algn="l" defTabSz="779163" rtl="0" eaLnBrk="1" fontAlgn="b" latinLnBrk="0" hangingPunct="1"/>
                      <a:r>
                        <a:rPr lang="pt-BR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acote Guia de Usos - Oi Móvel </a:t>
                      </a:r>
                      <a:r>
                        <a:rPr lang="pt-BR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udo </a:t>
                      </a:r>
                      <a:r>
                        <a:rPr lang="pt-BR" sz="1000" u="none" strike="noStrike" dirty="0" smtClean="0">
                          <a:solidFill>
                            <a:srgbClr val="FF0000"/>
                          </a:solidFill>
                          <a:effectLst/>
                        </a:rPr>
                        <a:t>&lt;#&gt; </a:t>
                      </a:r>
                      <a:r>
                        <a:rPr lang="pt-BR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P</a:t>
                      </a:r>
                      <a:endParaRPr lang="pt-BR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779163" rtl="0" eaLnBrk="1" fontAlgn="b" latinLnBrk="0" hangingPunct="1"/>
                      <a:r>
                        <a:rPr lang="pt-BR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uia de Uso TV - Oi Móvel Mudo </a:t>
                      </a:r>
                      <a:r>
                        <a:rPr lang="pt-BR" sz="1000" u="none" strike="noStrike" dirty="0" smtClean="0">
                          <a:solidFill>
                            <a:srgbClr val="FF0000"/>
                          </a:solidFill>
                          <a:effectLst/>
                        </a:rPr>
                        <a:t>&lt;#&gt;</a:t>
                      </a:r>
                      <a:r>
                        <a:rPr lang="pt-BR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pt-BR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P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701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779163" rtl="0" eaLnBrk="1" fontAlgn="b" latinLnBrk="0" hangingPunct="1"/>
                      <a:r>
                        <a:rPr lang="pt-BR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uia de Uso Serviços Fixo - Oi Móvel Mudo </a:t>
                      </a:r>
                      <a:r>
                        <a:rPr lang="pt-BR" sz="1000" u="none" strike="noStrike" dirty="0" smtClean="0">
                          <a:solidFill>
                            <a:srgbClr val="FF0000"/>
                          </a:solidFill>
                          <a:effectLst/>
                        </a:rPr>
                        <a:t>&lt;#&gt;</a:t>
                      </a:r>
                      <a:r>
                        <a:rPr lang="pt-BR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pt-BR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P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7012">
                <a:tc vMerge="1">
                  <a:txBody>
                    <a:bodyPr/>
                    <a:lstStyle/>
                    <a:p>
                      <a:pPr algn="l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marL="0" algn="l" defTabSz="779163" rtl="0" eaLnBrk="1" fontAlgn="b" latinLnBrk="0" hangingPunct="1"/>
                      <a:r>
                        <a:rPr lang="en-US" sz="100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ssinatura do Fixo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marL="0" algn="l" defTabSz="779163" rtl="0" eaLnBrk="1" fontAlgn="b" latinLnBrk="0" hangingPunct="1"/>
                      <a:r>
                        <a:rPr lang="en-US" sz="100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acote</a:t>
                      </a:r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Oi </a:t>
                      </a:r>
                      <a:r>
                        <a:rPr lang="en-US" sz="100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ixo</a:t>
                      </a:r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                                            </a:t>
                      </a:r>
                      <a:r>
                        <a:rPr lang="pt-BR" sz="1000" u="none" strike="noStrike" dirty="0" smtClean="0">
                          <a:solidFill>
                            <a:srgbClr val="FF0000"/>
                          </a:solidFill>
                          <a:effectLst/>
                        </a:rPr>
                        <a:t>&lt;UF&gt;</a:t>
                      </a:r>
                      <a:endParaRPr lang="en-US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779163" rtl="0" eaLnBrk="1" fontAlgn="b" latinLnBrk="0" hangingPunct="1"/>
                      <a:r>
                        <a:rPr lang="en-US" sz="100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ssinatura</a:t>
                      </a:r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0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em</a:t>
                      </a:r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0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ranquia</a:t>
                      </a:r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0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ixo</a:t>
                      </a:r>
                      <a:endParaRPr lang="en-US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701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779163" rtl="0" eaLnBrk="1" fontAlgn="b" latinLnBrk="0" hangingPunct="1"/>
                      <a:r>
                        <a:rPr lang="en-US" sz="100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ssinatura</a:t>
                      </a:r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da </a:t>
                      </a:r>
                      <a:r>
                        <a:rPr lang="en-US" sz="100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ranquia</a:t>
                      </a:r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0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ixo</a:t>
                      </a:r>
                      <a:endParaRPr lang="en-US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7012">
                <a:tc vMerge="1">
                  <a:txBody>
                    <a:bodyPr/>
                    <a:lstStyle/>
                    <a:p>
                      <a:pPr marL="0" algn="l" defTabSz="779163" rtl="0" eaLnBrk="1" fontAlgn="b" latinLnBrk="0" hangingPunct="1"/>
                      <a:endParaRPr lang="en-US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vert="vert270" anchor="ctr">
                    <a:lnL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779163" rtl="0" eaLnBrk="1" fontAlgn="b" latinLnBrk="0" hangingPunct="1"/>
                      <a:r>
                        <a:rPr lang="en-US" sz="100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ados Avulsos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779163" rtl="0" eaLnBrk="1" fontAlgn="b" latinLnBrk="0" hangingPunct="1"/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i Dados </a:t>
                      </a:r>
                      <a:r>
                        <a:rPr lang="en-US" sz="100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vulsos</a:t>
                      </a:r>
                      <a:endParaRPr lang="en-US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779163" rtl="0" eaLnBrk="1" fontAlgn="b" latinLnBrk="0" hangingPunct="1"/>
                      <a:r>
                        <a:rPr lang="pt-BR" sz="100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mponente de Oi Dados Avulsos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7012">
                <a:tc vMerge="1">
                  <a:txBody>
                    <a:bodyPr/>
                    <a:lstStyle/>
                    <a:p>
                      <a:pPr marL="0" algn="l" defTabSz="779163" rtl="0" eaLnBrk="1" fontAlgn="b" latinLnBrk="0" hangingPunct="1"/>
                      <a:endParaRPr lang="en-US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vert="vert270" anchor="ctr">
                    <a:lnL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6">
                  <a:txBody>
                    <a:bodyPr/>
                    <a:lstStyle/>
                    <a:p>
                      <a:pPr marL="0" algn="l" defTabSz="779163" rtl="0" eaLnBrk="1" fontAlgn="b" latinLnBrk="0" hangingPunct="1"/>
                      <a:r>
                        <a:rPr lang="en-US" sz="100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ini-Modem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6">
                  <a:txBody>
                    <a:bodyPr/>
                    <a:lstStyle/>
                    <a:p>
                      <a:pPr marL="0" algn="l" defTabSz="779163" rtl="0" eaLnBrk="1" fontAlgn="b" latinLnBrk="0" hangingPunct="1"/>
                      <a:r>
                        <a:rPr lang="en-US" sz="100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i</a:t>
                      </a:r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0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elox</a:t>
                      </a:r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3G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779163" rtl="0" eaLnBrk="1" fontAlgn="b" latinLnBrk="0" hangingPunct="1"/>
                      <a:r>
                        <a:rPr lang="en-US" sz="100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ssinatura Oi Velox 3G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701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779163" rtl="0" eaLnBrk="1" fontAlgn="b" latinLnBrk="0" hangingPunct="1"/>
                      <a:r>
                        <a:rPr lang="en-US" sz="100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mponente</a:t>
                      </a:r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0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scrição</a:t>
                      </a:r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0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ssinatura</a:t>
                      </a:r>
                      <a:endParaRPr lang="en-US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5243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779163" rtl="0" eaLnBrk="1" fontAlgn="b" latinLnBrk="0" hangingPunct="1"/>
                      <a:r>
                        <a:rPr lang="pt-BR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mponente Franquia </a:t>
                      </a:r>
                      <a:r>
                        <a:rPr lang="pt-BR" sz="1000" u="none" strike="noStrike" dirty="0" smtClean="0">
                          <a:solidFill>
                            <a:srgbClr val="FF0000"/>
                          </a:solidFill>
                          <a:effectLst/>
                        </a:rPr>
                        <a:t>&lt;UF&gt;</a:t>
                      </a:r>
                      <a:r>
                        <a:rPr lang="pt-BR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pt-BR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 plano Oi Velox Plug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701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779163" rtl="0" eaLnBrk="1" fontAlgn="b" latinLnBrk="0" hangingPunct="1"/>
                      <a:r>
                        <a:rPr lang="pt-BR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mponente Guia de uso 3G </a:t>
                      </a:r>
                      <a:r>
                        <a:rPr lang="pt-BR" sz="1000" u="none" strike="noStrike" dirty="0" smtClean="0">
                          <a:solidFill>
                            <a:srgbClr val="FF0000"/>
                          </a:solidFill>
                          <a:effectLst/>
                        </a:rPr>
                        <a:t>&lt;UF&gt;</a:t>
                      </a:r>
                      <a:r>
                        <a:rPr lang="pt-BR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pt-BR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lano Oi Velox Plug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701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779163" rtl="0" eaLnBrk="1" fontAlgn="b" latinLnBrk="0" hangingPunct="1"/>
                      <a:r>
                        <a:rPr lang="pt-BR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mponente Guia de uso 2G </a:t>
                      </a:r>
                      <a:r>
                        <a:rPr lang="pt-BR" sz="1000" u="none" strike="noStrike" dirty="0" smtClean="0">
                          <a:solidFill>
                            <a:srgbClr val="FF0000"/>
                          </a:solidFill>
                          <a:effectLst/>
                        </a:rPr>
                        <a:t>&lt;UF&gt;</a:t>
                      </a:r>
                      <a:r>
                        <a:rPr lang="pt-BR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pt-BR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 3G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701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779163" rtl="0" eaLnBrk="1" fontAlgn="b" latinLnBrk="0" hangingPunct="1"/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i </a:t>
                      </a:r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orpedo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7012">
                <a:tc>
                  <a:txBody>
                    <a:bodyPr/>
                    <a:lstStyle/>
                    <a:p>
                      <a:pPr marL="0" algn="l" defTabSz="779163" rtl="0" eaLnBrk="1" fontAlgn="b" latinLnBrk="0" hangingPunct="1"/>
                      <a:r>
                        <a:rPr lang="en-US" sz="1000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ta</a:t>
                      </a:r>
                      <a:endParaRPr lang="en-US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779163" rtl="0" eaLnBrk="1" fontAlgn="b" latinLnBrk="0" hangingPunct="1"/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V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779163" rtl="0" eaLnBrk="1" fontAlgn="b" latinLnBrk="0" hangingPunct="1"/>
                      <a:r>
                        <a:rPr lang="pt-BR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*Um dos existentes na célula E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779163" rtl="0" eaLnBrk="1" fontAlgn="b" latinLnBrk="0" hangingPunct="1"/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i TV </a:t>
                      </a:r>
                      <a:r>
                        <a:rPr lang="pt-BR" sz="1000" u="none" strike="noStrike" dirty="0" smtClean="0">
                          <a:solidFill>
                            <a:srgbClr val="FF0000"/>
                          </a:solidFill>
                          <a:effectLst/>
                        </a:rPr>
                        <a:t>&lt;UF&gt;</a:t>
                      </a:r>
                      <a:endParaRPr lang="en-US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7012">
                <a:tc gridSpan="4">
                  <a:txBody>
                    <a:bodyPr/>
                    <a:lstStyle/>
                    <a:p>
                      <a:pPr marL="0" algn="l" defTabSz="779163" rtl="0" eaLnBrk="1" fontAlgn="b" latinLnBrk="0" hangingPunct="1"/>
                      <a:endParaRPr lang="en-US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l" defTabSz="779163" rtl="0" eaLnBrk="1" fontAlgn="b" latinLnBrk="0" hangingPunct="1"/>
                      <a:endParaRPr lang="en-US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  <a:tr h="388171">
                <a:tc>
                  <a:txBody>
                    <a:bodyPr/>
                    <a:lstStyle/>
                    <a:p>
                      <a:pPr marL="0" algn="l" defTabSz="779163" rtl="0" eaLnBrk="1" fontAlgn="b" latinLnBrk="0" hangingPunct="1"/>
                      <a:r>
                        <a:rPr lang="en-US" sz="1000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ta</a:t>
                      </a:r>
                      <a:endParaRPr lang="en-US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779163" rtl="0" eaLnBrk="1" fontAlgn="b" latinLnBrk="0" hangingPunct="1"/>
                      <a:r>
                        <a:rPr lang="en-US" sz="100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elox ADSL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779163" rtl="0" eaLnBrk="1" fontAlgn="b" latinLnBrk="0" hangingPunct="1"/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elox </a:t>
                      </a:r>
                      <a:r>
                        <a:rPr lang="pt-BR" sz="1000" u="none" strike="noStrike" dirty="0" smtClean="0">
                          <a:solidFill>
                            <a:srgbClr val="FF0000"/>
                          </a:solidFill>
                          <a:effectLst/>
                        </a:rPr>
                        <a:t>&lt;#&gt; </a:t>
                      </a:r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                                              </a:t>
                      </a:r>
                      <a:r>
                        <a:rPr lang="pt-BR" sz="1000" u="none" strike="noStrike" dirty="0" smtClean="0">
                          <a:solidFill>
                            <a:srgbClr val="FF0000"/>
                          </a:solidFill>
                          <a:effectLst/>
                        </a:rPr>
                        <a:t>&lt;UF&gt;</a:t>
                      </a:r>
                      <a:endParaRPr lang="en-US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779163" rtl="0" eaLnBrk="1" fontAlgn="b" latinLnBrk="0" hangingPunct="1"/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elox </a:t>
                      </a:r>
                      <a:r>
                        <a:rPr lang="pt-BR" sz="1000" u="none" strike="noStrike" dirty="0" smtClean="0">
                          <a:solidFill>
                            <a:srgbClr val="FF0000"/>
                          </a:solidFill>
                          <a:effectLst/>
                        </a:rPr>
                        <a:t>&lt;UF&gt;</a:t>
                      </a:r>
                      <a:endParaRPr lang="en-US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2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5" name="Rectangle 4"/>
          <p:cNvSpPr/>
          <p:nvPr/>
        </p:nvSpPr>
        <p:spPr>
          <a:xfrm>
            <a:off x="1786736" y="6101983"/>
            <a:ext cx="479329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pt-BR" sz="1600" dirty="0" smtClean="0">
                <a:latin typeface="Arial" pitchFamily="34" charset="0"/>
                <a:cs typeface="Arial" pitchFamily="34" charset="0"/>
              </a:rPr>
              <a:t>Lista de todos os pacotes e Componentes para 3P</a:t>
            </a:r>
            <a:endParaRPr lang="pt-BR" sz="1600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7" name="Object 6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341972669"/>
              </p:ext>
            </p:extLst>
          </p:nvPr>
        </p:nvGraphicFramePr>
        <p:xfrm>
          <a:off x="3726180" y="5062538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6" name="Worksheet" showAsIcon="1" r:id="rId3" imgW="914400" imgH="771480" progId="Excel.Sheet.12">
                  <p:embed/>
                </p:oleObj>
              </mc:Choice>
              <mc:Fallback>
                <p:oleObj name="Worksheet" showAsIcon="1" r:id="rId3" imgW="914400" imgH="77148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3726180" y="5062538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495010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>
                <a:solidFill>
                  <a:schemeClr val="tx2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OS MÓD. DE CONFIGURAÇÃO 2P, 3P e 4P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5221" y="1206003"/>
            <a:ext cx="8275803" cy="246221"/>
          </a:xfrm>
        </p:spPr>
        <p:txBody>
          <a:bodyPr/>
          <a:lstStyle/>
          <a:p>
            <a:pPr marL="0" indent="0">
              <a:buNone/>
            </a:pPr>
            <a:r>
              <a:rPr lang="en-US" dirty="0" err="1" smtClean="0"/>
              <a:t>Exemplo</a:t>
            </a:r>
            <a:r>
              <a:rPr lang="en-US" dirty="0" smtClean="0"/>
              <a:t> de 3P </a:t>
            </a:r>
            <a:r>
              <a:rPr lang="en-US" dirty="0" err="1" smtClean="0"/>
              <a:t>Provisionado</a:t>
            </a:r>
            <a:r>
              <a:rPr lang="en-US" dirty="0" smtClean="0"/>
              <a:t> </a:t>
            </a:r>
            <a:r>
              <a:rPr lang="en-US" dirty="0" err="1" smtClean="0"/>
              <a:t>na</a:t>
            </a:r>
            <a:r>
              <a:rPr lang="en-US" dirty="0" smtClean="0"/>
              <a:t> </a:t>
            </a:r>
            <a:r>
              <a:rPr lang="en-US" dirty="0" err="1" smtClean="0"/>
              <a:t>Conta</a:t>
            </a:r>
            <a:endParaRPr lang="en-US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808478"/>
              </p:ext>
            </p:extLst>
          </p:nvPr>
        </p:nvGraphicFramePr>
        <p:xfrm>
          <a:off x="435219" y="1614227"/>
          <a:ext cx="8275805" cy="237973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204532"/>
                <a:gridCol w="791722"/>
                <a:gridCol w="2129759"/>
                <a:gridCol w="950926"/>
                <a:gridCol w="1896560"/>
                <a:gridCol w="1302306"/>
              </a:tblGrid>
              <a:tr h="225319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000" b="1" u="none" strike="noStrike" dirty="0">
                          <a:effectLst/>
                        </a:rPr>
                        <a:t>TIPO_SERVICO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974" marR="2974" marT="297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08FCD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000" b="1" u="none" strike="noStrike" dirty="0">
                          <a:effectLst/>
                        </a:rPr>
                        <a:t>PACKAGE_ID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974" marR="2974" marT="297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08FCD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000" b="1" u="none" strike="noStrike" dirty="0">
                          <a:effectLst/>
                        </a:rPr>
                        <a:t>PACKAGE_DESCR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974" marR="2974" marT="297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08FCD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000" b="1" u="none" strike="noStrike" dirty="0">
                          <a:effectLst/>
                        </a:rPr>
                        <a:t>COMPONENT_ID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974" marR="2974" marT="297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08FCD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000" b="1" u="none" strike="noStrike" dirty="0">
                          <a:effectLst/>
                        </a:rPr>
                        <a:t>COMPONENT_DESCR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974" marR="2974" marT="297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08FCD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000" b="1" u="none" strike="noStrike" dirty="0">
                          <a:effectLst/>
                        </a:rPr>
                        <a:t>NIVEL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974" marR="2974" marT="297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08FCD"/>
                    </a:solidFill>
                  </a:tcPr>
                </a:tc>
              </a:tr>
              <a:tr h="225319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</a:rPr>
                        <a:t>SIMCard - Santa Catarina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974" marR="2974" marT="297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u="none" strike="noStrike">
                          <a:effectLst/>
                        </a:rPr>
                        <a:t>32273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974" marR="2974" marT="297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u="none" strike="noStrike">
                          <a:effectLst/>
                        </a:rPr>
                        <a:t>Pacote Guia de Usos - Oi Móvel Mudo 1 3P</a:t>
                      </a:r>
                      <a:endParaRPr lang="pt-B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974" marR="2974" marT="297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u="none" strike="noStrike" dirty="0">
                          <a:effectLst/>
                        </a:rPr>
                        <a:t>54478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974" marR="2974" marT="297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u="none" strike="noStrike">
                          <a:effectLst/>
                        </a:rPr>
                        <a:t>Guia de Uso TV - Oi Móvel Mudo 1 3P</a:t>
                      </a:r>
                      <a:endParaRPr lang="pt-B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974" marR="2974" marT="297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779163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u="none" strike="noStrike" dirty="0" err="1" smtClean="0">
                          <a:solidFill>
                            <a:schemeClr val="tx1"/>
                          </a:solidFill>
                          <a:effectLst/>
                        </a:rPr>
                        <a:t>Nível</a:t>
                      </a:r>
                      <a:r>
                        <a:rPr lang="en-US" sz="100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000" u="none" strike="noStrike" dirty="0" err="1" smtClean="0">
                          <a:solidFill>
                            <a:schemeClr val="tx1"/>
                          </a:solidFill>
                          <a:effectLst/>
                        </a:rPr>
                        <a:t>Serviço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974" marR="2974" marT="297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25319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 dirty="0" err="1">
                          <a:effectLst/>
                        </a:rPr>
                        <a:t>SIMCard</a:t>
                      </a:r>
                      <a:r>
                        <a:rPr lang="en-US" sz="1000" u="none" strike="noStrike" dirty="0">
                          <a:effectLst/>
                        </a:rPr>
                        <a:t> - Santa Catarina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974" marR="2974" marT="297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u="none" strike="noStrike" dirty="0">
                          <a:effectLst/>
                        </a:rPr>
                        <a:t>32273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974" marR="2974" marT="297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u="none" strike="noStrike" dirty="0">
                          <a:effectLst/>
                        </a:rPr>
                        <a:t>Pacote Guia de Usos - Oi Móvel Mudo 1 3P</a:t>
                      </a:r>
                      <a:endParaRPr lang="pt-BR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974" marR="2974" marT="297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u="none" strike="noStrike" dirty="0">
                          <a:effectLst/>
                        </a:rPr>
                        <a:t>54481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974" marR="2974" marT="297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u="none" strike="noStrike" dirty="0">
                          <a:effectLst/>
                        </a:rPr>
                        <a:t>Guia de Uso Serviços Fixo - Oi Móvel Mudo 1 3P</a:t>
                      </a:r>
                      <a:endParaRPr lang="pt-BR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974" marR="2974" marT="297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779163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u="none" strike="noStrike" dirty="0" err="1" smtClean="0">
                          <a:solidFill>
                            <a:schemeClr val="tx1"/>
                          </a:solidFill>
                          <a:effectLst/>
                        </a:rPr>
                        <a:t>Nível</a:t>
                      </a:r>
                      <a:r>
                        <a:rPr lang="en-US" sz="100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000" u="none" strike="noStrike" dirty="0" err="1" smtClean="0">
                          <a:solidFill>
                            <a:schemeClr val="tx1"/>
                          </a:solidFill>
                          <a:effectLst/>
                        </a:rPr>
                        <a:t>Serviço</a:t>
                      </a:r>
                      <a:endParaRPr lang="en-US" sz="1000" b="0" i="0" u="none" strike="noStrike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algn="l" fontAlgn="b"/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974" marR="2974" marT="297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25319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 dirty="0">
                          <a:effectLst/>
                        </a:rPr>
                        <a:t> 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974" marR="2974" marT="297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u="none" strike="noStrike">
                          <a:effectLst/>
                        </a:rPr>
                        <a:t>30393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974" marR="2974" marT="297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</a:rPr>
                        <a:t>Oi Fixo                                                     SC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974" marR="2974" marT="297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u="none" strike="noStrike">
                          <a:effectLst/>
                        </a:rPr>
                        <a:t>52024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974" marR="2974" marT="297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</a:rPr>
                        <a:t>Assinatura Oi Fixo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974" marR="2974" marT="297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 dirty="0" err="1" smtClean="0">
                          <a:solidFill>
                            <a:schemeClr val="tx1"/>
                          </a:solidFill>
                          <a:effectLst/>
                        </a:rPr>
                        <a:t>Nível</a:t>
                      </a:r>
                      <a:r>
                        <a:rPr lang="en-US" sz="100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000" u="none" strike="noStrike" dirty="0" err="1" smtClean="0">
                          <a:solidFill>
                            <a:schemeClr val="tx1"/>
                          </a:solidFill>
                          <a:effectLst/>
                        </a:rPr>
                        <a:t>Conta</a:t>
                      </a:r>
                      <a:endParaRPr lang="en-US" sz="1000" b="0" i="0" u="none" strike="noStrike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algn="l" fontAlgn="b"/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974" marR="2974" marT="297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25319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 dirty="0">
                          <a:effectLst/>
                        </a:rPr>
                        <a:t> 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974" marR="2974" marT="297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u="none" strike="noStrike">
                          <a:effectLst/>
                        </a:rPr>
                        <a:t>30393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974" marR="2974" marT="297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</a:rPr>
                        <a:t>Oi Fixo                                                     SC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974" marR="2974" marT="297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u="none" strike="noStrike">
                          <a:effectLst/>
                        </a:rPr>
                        <a:t>52051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974" marR="2974" marT="297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u="none" strike="noStrike">
                          <a:effectLst/>
                        </a:rPr>
                        <a:t>Ligações locais do seu Fixo</a:t>
                      </a:r>
                      <a:endParaRPr lang="pt-B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974" marR="2974" marT="297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 dirty="0" err="1" smtClean="0">
                          <a:solidFill>
                            <a:schemeClr val="tx1"/>
                          </a:solidFill>
                          <a:effectLst/>
                        </a:rPr>
                        <a:t>Nível</a:t>
                      </a:r>
                      <a:r>
                        <a:rPr lang="en-US" sz="100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000" u="none" strike="noStrike" dirty="0" err="1" smtClean="0">
                          <a:solidFill>
                            <a:schemeClr val="tx1"/>
                          </a:solidFill>
                          <a:effectLst/>
                        </a:rPr>
                        <a:t>Conta</a:t>
                      </a:r>
                      <a:endParaRPr lang="en-US" sz="1000" b="0" i="0" u="none" strike="noStrike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algn="l" fontAlgn="b"/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974" marR="2974" marT="297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25319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 dirty="0">
                          <a:effectLst/>
                        </a:rPr>
                        <a:t> 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974" marR="2974" marT="297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u="none" strike="noStrike">
                          <a:effectLst/>
                        </a:rPr>
                        <a:t>30663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974" marR="2974" marT="297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</a:rPr>
                        <a:t>Oi Velox                                                    SC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974" marR="2974" marT="297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u="none" strike="noStrike">
                          <a:effectLst/>
                        </a:rPr>
                        <a:t>52496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974" marR="2974" marT="297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</a:rPr>
                        <a:t>Assinatura Oi Velox 2 Mb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974" marR="2974" marT="297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 dirty="0" err="1" smtClean="0">
                          <a:solidFill>
                            <a:schemeClr val="tx1"/>
                          </a:solidFill>
                          <a:effectLst/>
                        </a:rPr>
                        <a:t>Nível</a:t>
                      </a:r>
                      <a:r>
                        <a:rPr lang="en-US" sz="100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000" u="none" strike="noStrike" dirty="0" err="1" smtClean="0">
                          <a:solidFill>
                            <a:schemeClr val="tx1"/>
                          </a:solidFill>
                          <a:effectLst/>
                        </a:rPr>
                        <a:t>Conta</a:t>
                      </a:r>
                      <a:endParaRPr lang="en-US" sz="1000" b="0" i="0" u="none" strike="noStrike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algn="l" fontAlgn="b"/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974" marR="2974" marT="297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25319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 dirty="0">
                          <a:effectLst/>
                        </a:rPr>
                        <a:t> 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974" marR="2974" marT="297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u="none" strike="noStrike">
                          <a:effectLst/>
                        </a:rPr>
                        <a:t>33036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974" marR="2974" marT="297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</a:rPr>
                        <a:t>Oi TV                                                       SC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974" marR="2974" marT="297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u="none" strike="noStrike">
                          <a:effectLst/>
                        </a:rPr>
                        <a:t>55225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974" marR="2974" marT="297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u="none" strike="noStrike">
                          <a:effectLst/>
                        </a:rPr>
                        <a:t>Componente Assinatura Oi TV Simples HD 2013                              SC</a:t>
                      </a:r>
                      <a:endParaRPr lang="pt-B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974" marR="2974" marT="297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 dirty="0" err="1" smtClean="0">
                          <a:solidFill>
                            <a:schemeClr val="tx1"/>
                          </a:solidFill>
                          <a:effectLst/>
                        </a:rPr>
                        <a:t>Nível</a:t>
                      </a:r>
                      <a:r>
                        <a:rPr lang="en-US" sz="100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000" u="none" strike="noStrike" dirty="0" err="1" smtClean="0">
                          <a:solidFill>
                            <a:schemeClr val="tx1"/>
                          </a:solidFill>
                          <a:effectLst/>
                        </a:rPr>
                        <a:t>Conta</a:t>
                      </a:r>
                      <a:endParaRPr lang="en-US" sz="1000" b="0" i="0" u="none" strike="noStrike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algn="l" fontAlgn="b"/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974" marR="2974" marT="297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25319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 dirty="0">
                          <a:effectLst/>
                        </a:rPr>
                        <a:t> 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974" marR="2974" marT="297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u="none" strike="noStrike">
                          <a:effectLst/>
                        </a:rPr>
                        <a:t>33729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974" marR="2974" marT="297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u="none" strike="noStrike">
                          <a:effectLst/>
                        </a:rPr>
                        <a:t>Serviços Digitais do Oi Fixo                                                  SC</a:t>
                      </a:r>
                      <a:endParaRPr lang="pt-B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974" marR="2974" marT="297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u="none" strike="noStrike">
                          <a:effectLst/>
                        </a:rPr>
                        <a:t>57728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974" marR="2974" marT="297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u="none" strike="noStrike">
                          <a:effectLst/>
                        </a:rPr>
                        <a:t>Identificador de Chamadas e Chamada em Espera</a:t>
                      </a:r>
                      <a:endParaRPr lang="pt-BR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974" marR="2974" marT="297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 dirty="0" err="1" smtClean="0">
                          <a:solidFill>
                            <a:schemeClr val="tx1"/>
                          </a:solidFill>
                          <a:effectLst/>
                        </a:rPr>
                        <a:t>Nível</a:t>
                      </a:r>
                      <a:r>
                        <a:rPr lang="en-US" sz="100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000" u="none" strike="noStrike" dirty="0" err="1" smtClean="0">
                          <a:solidFill>
                            <a:schemeClr val="tx1"/>
                          </a:solidFill>
                          <a:effectLst/>
                        </a:rPr>
                        <a:t>Conta</a:t>
                      </a:r>
                      <a:endParaRPr lang="en-US" sz="1000" b="0" i="0" u="none" strike="noStrike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algn="l" fontAlgn="b"/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974" marR="2974" marT="2974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708073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220" y="0"/>
            <a:ext cx="8708780" cy="1044000"/>
          </a:xfrm>
        </p:spPr>
        <p:txBody>
          <a:bodyPr>
            <a:normAutofit/>
          </a:bodyPr>
          <a:lstStyle/>
          <a:p>
            <a:r>
              <a:rPr lang="pt-BR" dirty="0" smtClean="0">
                <a:solidFill>
                  <a:schemeClr val="tx2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OS MÓD. DE CONFIGURAÇÃO 2P, 3P e 4P</a:t>
            </a:r>
            <a:endParaRPr lang="en-US" dirty="0">
              <a:solidFill>
                <a:schemeClr val="tx2">
                  <a:lumMod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866034" y="2331715"/>
            <a:ext cx="5847151" cy="332770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42950" lvl="1" indent="-285750">
              <a:lnSpc>
                <a:spcPct val="107000"/>
              </a:lnSpc>
              <a:buFont typeface="Courier New" panose="02070309020205020404" pitchFamily="49" charset="0"/>
              <a:buChar char="o"/>
            </a:pPr>
            <a:r>
              <a:rPr lang="pt-BR" sz="1600" b="1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nformação conceitual sobre os novos pacotes :</a:t>
            </a:r>
          </a:p>
          <a:p>
            <a:pPr marL="457200" lvl="1">
              <a:lnSpc>
                <a:spcPct val="107000"/>
              </a:lnSpc>
            </a:pPr>
            <a:r>
              <a:rPr lang="pt-BR" sz="1600" b="1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	</a:t>
            </a:r>
          </a:p>
          <a:p>
            <a:pPr lvl="1"/>
            <a:r>
              <a:rPr lang="pt-BR" sz="1600" dirty="0" smtClean="0"/>
              <a:t>Estrutura: </a:t>
            </a:r>
          </a:p>
          <a:p>
            <a:pPr lvl="1"/>
            <a:r>
              <a:rPr lang="pt-BR" sz="1600" dirty="0" smtClean="0"/>
              <a:t>o Fixo (Obrigatório);</a:t>
            </a:r>
          </a:p>
          <a:p>
            <a:pPr lvl="1"/>
            <a:r>
              <a:rPr lang="pt-BR" sz="1600" dirty="0" smtClean="0"/>
              <a:t>o Velox ADSL ou 3G </a:t>
            </a:r>
            <a:r>
              <a:rPr lang="pt-BR" sz="1600" dirty="0" err="1" smtClean="0"/>
              <a:t>Plug</a:t>
            </a:r>
            <a:r>
              <a:rPr lang="pt-BR" sz="1600" dirty="0" smtClean="0"/>
              <a:t> (Obrigatório);</a:t>
            </a:r>
          </a:p>
          <a:p>
            <a:pPr lvl="1"/>
            <a:r>
              <a:rPr lang="pt-BR" sz="1600" dirty="0" smtClean="0"/>
              <a:t>o TV (Opcional);</a:t>
            </a:r>
          </a:p>
          <a:p>
            <a:pPr lvl="1"/>
            <a:r>
              <a:rPr lang="pt-BR" sz="1600" dirty="0" smtClean="0"/>
              <a:t>o Móvel (Obrigatório).</a:t>
            </a:r>
          </a:p>
          <a:p>
            <a:pPr lvl="1"/>
            <a:r>
              <a:rPr lang="pt-BR" sz="1600" dirty="0" smtClean="0"/>
              <a:t>o Velox 3G Complementar (opcional)       add-ons (Obrigatório)</a:t>
            </a:r>
          </a:p>
          <a:p>
            <a:pPr lvl="1"/>
            <a:endParaRPr lang="pt-BR" sz="1600" dirty="0" smtClean="0"/>
          </a:p>
          <a:p>
            <a:pPr lvl="1"/>
            <a:r>
              <a:rPr lang="pt-BR" sz="1600" dirty="0" smtClean="0"/>
              <a:t>Criação de 2 novos “tipos” de planos: Plano Completo com Dados 3G e Plano Completo sem Dados 3G, com 6 franquias cada e com possibilidade de contratar serviços adicionais, inclusive de TV DTH, para ser cobrado na mesma fatura.</a:t>
            </a:r>
            <a:endParaRPr lang="pt-BR" sz="2000" dirty="0"/>
          </a:p>
        </p:txBody>
      </p:sp>
      <p:sp>
        <p:nvSpPr>
          <p:cNvPr id="44" name="Rectangle 43"/>
          <p:cNvSpPr/>
          <p:nvPr/>
        </p:nvSpPr>
        <p:spPr>
          <a:xfrm>
            <a:off x="435220" y="1270160"/>
            <a:ext cx="273247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800" dirty="0" err="1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acotes</a:t>
            </a:r>
            <a:r>
              <a:rPr lang="en-US" sz="18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P –  </a:t>
            </a:r>
            <a:r>
              <a:rPr lang="en-US" sz="1800" dirty="0" err="1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acotes</a:t>
            </a:r>
            <a:r>
              <a:rPr lang="en-US" sz="18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4P</a:t>
            </a:r>
            <a:endParaRPr lang="en-US" sz="18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Picture 2" descr="http://icons.iconseeker.com/png/fullsize/sticker-pack-1/package-2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5220" y="2147007"/>
            <a:ext cx="1738913" cy="17389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1"/>
          <p:cNvSpPr>
            <a:spLocks noChangeArrowheads="1"/>
          </p:cNvSpPr>
          <p:nvPr/>
        </p:nvSpPr>
        <p:spPr bwMode="auto">
          <a:xfrm>
            <a:off x="1641588" y="72305"/>
            <a:ext cx="6071597" cy="553998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t-BR" altLang="en-US" sz="1200" b="0" i="0" u="none" strike="noStrike" cap="none" normalizeH="0" baseline="0" dirty="0" smtClean="0">
                <a:ln>
                  <a:noFill/>
                </a:ln>
                <a:solidFill>
                  <a:srgbClr val="212121"/>
                </a:solidFill>
                <a:effectLst/>
                <a:latin typeface="inherit"/>
              </a:rPr>
              <a:t>São requeridos ADSL fixo ou</a:t>
            </a:r>
            <a:r>
              <a:rPr kumimoji="0" lang="pt-BR" altLang="en-US" sz="1200" b="0" i="0" u="none" strike="noStrike" cap="none" normalizeH="0" dirty="0" smtClean="0">
                <a:ln>
                  <a:noFill/>
                </a:ln>
                <a:solidFill>
                  <a:srgbClr val="212121"/>
                </a:solidFill>
                <a:effectLst/>
                <a:latin typeface="inherit"/>
              </a:rPr>
              <a:t> Substituo 3G, Opcional TV, 3G Complementar, Add</a:t>
            </a:r>
            <a:r>
              <a:rPr kumimoji="0" lang="pt-BR" altLang="en-US" sz="1200" b="0" i="0" u="none" strike="noStrike" cap="none" normalizeH="0" baseline="0" dirty="0" smtClean="0">
                <a:ln>
                  <a:noFill/>
                </a:ln>
                <a:solidFill>
                  <a:srgbClr val="212121"/>
                </a:solidFill>
                <a:effectLst/>
                <a:latin typeface="inherit"/>
              </a:rPr>
              <a:t>-on NB: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t-BR" altLang="en-US" sz="1200" b="0" i="0" u="none" strike="noStrike" cap="none" normalizeH="0" baseline="0" dirty="0" smtClean="0">
                <a:ln>
                  <a:noFill/>
                </a:ln>
                <a:solidFill>
                  <a:srgbClr val="212121"/>
                </a:solidFill>
                <a:effectLst/>
                <a:latin typeface="inherit"/>
              </a:rPr>
              <a:t>É obrigatório ter o elemento "Chip </a:t>
            </a:r>
            <a:r>
              <a:rPr kumimoji="0" lang="pt-BR" altLang="en-US" sz="1200" b="0" i="0" u="none" strike="noStrike" cap="none" normalizeH="0" baseline="0" dirty="0" err="1" smtClean="0">
                <a:ln>
                  <a:noFill/>
                </a:ln>
                <a:solidFill>
                  <a:srgbClr val="212121"/>
                </a:solidFill>
                <a:effectLst/>
                <a:latin typeface="inherit"/>
              </a:rPr>
              <a:t>Alone</a:t>
            </a:r>
            <a:r>
              <a:rPr kumimoji="0" lang="pt-BR" altLang="en-US" sz="1200" b="0" i="0" u="none" strike="noStrike" cap="none" normalizeH="0" baseline="0" dirty="0" smtClean="0">
                <a:ln>
                  <a:noFill/>
                </a:ln>
                <a:solidFill>
                  <a:srgbClr val="212121"/>
                </a:solidFill>
                <a:effectLst/>
                <a:latin typeface="inherit"/>
              </a:rPr>
              <a:t>" na oferta selecionada.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t-BR" altLang="en-US" sz="1200" b="0" i="0" u="none" strike="noStrike" cap="none" normalizeH="0" baseline="0" dirty="0" smtClean="0">
                <a:ln>
                  <a:noFill/>
                </a:ln>
                <a:solidFill>
                  <a:srgbClr val="212121"/>
                </a:solidFill>
                <a:effectLst/>
                <a:latin typeface="inherit"/>
              </a:rPr>
              <a:t>É necessário que a oferta tenha um produto web para a configuração 3G</a:t>
            </a:r>
            <a:endParaRPr kumimoji="0" lang="pt-BR" alt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703763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3SHjmdDEUSIAWbJc4qGB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pBWvd8nkUWd83gmjpc2M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sjPXrJdT0en2WN4xG19p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g3E7eglzEmS.92.QRqgt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ccenture_Image_Pencils_Letter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wrap="square">
        <a:spAutoFit/>
      </a:bodyPr>
      <a:lstStyle>
        <a:defPPr marL="846781">
          <a:lnSpc>
            <a:spcPct val="107000"/>
          </a:lnSpc>
          <a:defRPr sz="1200" dirty="0">
            <a:latin typeface="Arial" panose="020B0604020202020204" pitchFamily="34" charset="0"/>
            <a:ea typeface="Calibri" panose="020F0502020204030204" pitchFamily="34" charset="0"/>
            <a:cs typeface="Arial" panose="020B0604020202020204" pitchFamily="34" charset="0"/>
          </a:defRPr>
        </a:defPPr>
      </a:lstStyle>
    </a:spDef>
    <a:txDef>
      <a:spPr>
        <a:noFill/>
      </a:spPr>
      <a:bodyPr wrap="square" lIns="0" tIns="0" rIns="0" bIns="0" rtlCol="0">
        <a:spAutoFit/>
      </a:bodyPr>
      <a:lstStyle>
        <a:defPPr>
          <a:defRPr sz="1400" dirty="0"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Accenture Management Consulting Accordian Leafes">
  <a:themeElements>
    <a:clrScheme name="MacroReflection">
      <a:dk1>
        <a:srgbClr val="000000"/>
      </a:dk1>
      <a:lt1>
        <a:srgbClr val="FFFFFF"/>
      </a:lt1>
      <a:dk2>
        <a:srgbClr val="666666"/>
      </a:dk2>
      <a:lt2>
        <a:srgbClr val="778888"/>
      </a:lt2>
      <a:accent1>
        <a:srgbClr val="66AA44"/>
      </a:accent1>
      <a:accent2>
        <a:srgbClr val="00BBEE"/>
      </a:accent2>
      <a:accent3>
        <a:srgbClr val="AA1133"/>
      </a:accent3>
      <a:accent4>
        <a:srgbClr val="002266"/>
      </a:accent4>
      <a:accent5>
        <a:srgbClr val="66AA44"/>
      </a:accent5>
      <a:accent6>
        <a:srgbClr val="00BBEE"/>
      </a:accent6>
      <a:hlink>
        <a:srgbClr val="AA1133"/>
      </a:hlink>
      <a:folHlink>
        <a:srgbClr val="002266"/>
      </a:folHlink>
    </a:clrScheme>
    <a:fontScheme name="Benutzerdefiniert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778888">
            <a:lumMod val="20000"/>
            <a:lumOff val="80000"/>
          </a:srgbClr>
        </a:solidFill>
        <a:ln w="6350">
          <a:solidFill>
            <a:srgbClr val="778888">
              <a:lumMod val="20000"/>
              <a:lumOff val="80000"/>
            </a:srgbClr>
          </a:solidFill>
          <a:miter lim="800000"/>
          <a:headEnd/>
          <a:tailEnd/>
        </a:ln>
        <a:effectLst/>
      </a:spPr>
      <a:bodyPr vert="horz" wrap="square" lIns="72000" tIns="72000" rIns="72000" bIns="72000" numCol="1" rtlCol="0" anchor="t" anchorCtr="0" compatLnSpc="1">
        <a:prstTxWarp prst="textNoShape">
          <a:avLst/>
        </a:prstTxWarp>
        <a:no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ts val="0"/>
          </a:spcBef>
          <a:spcAft>
            <a:spcPts val="300"/>
          </a:spcAft>
          <a:buClrTx/>
          <a:buSzTx/>
          <a:buFontTx/>
          <a:buNone/>
          <a:tabLst/>
          <a:defRPr kumimoji="0" sz="1600" b="0" i="0" u="none" strike="noStrike" kern="0" cap="none" spc="0" normalizeH="0" baseline="0" noProof="0" dirty="0" err="1" smtClean="0">
            <a:ln>
              <a:noFill/>
            </a:ln>
            <a:solidFill>
              <a:sysClr val="windowText" lastClr="000000"/>
            </a:solidFill>
            <a:effectLst/>
            <a:uLnTx/>
            <a:uFillTx/>
            <a:latin typeface="Arial" pitchFamily="34" charset="0"/>
            <a:cs typeface="Arial" pitchFamily="34" charset="0"/>
          </a:defRPr>
        </a:defPPr>
      </a:lst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>
        <a:spAutoFit/>
      </a:bodyPr>
      <a:lstStyle>
        <a:defPPr algn="l">
          <a:defRPr sz="1200" dirty="0" err="1" smtClean="0"/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BE709C374FACB14285F2A374B0B7BCA5" ma:contentTypeVersion="0" ma:contentTypeDescription="Crie um novo documento." ma:contentTypeScope="" ma:versionID="429e9224becd995a943f189eb8c57ba9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6e078010f886becc52d8153076464ff7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ú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BE5CE3DA-C514-4BB0-B95B-77424E52C653}"/>
</file>

<file path=customXml/itemProps2.xml><?xml version="1.0" encoding="utf-8"?>
<ds:datastoreItem xmlns:ds="http://schemas.openxmlformats.org/officeDocument/2006/customXml" ds:itemID="{5872C164-4DAB-46CD-B9A3-ED911C39D784}"/>
</file>

<file path=customXml/itemProps3.xml><?xml version="1.0" encoding="utf-8"?>
<ds:datastoreItem xmlns:ds="http://schemas.openxmlformats.org/officeDocument/2006/customXml" ds:itemID="{D2786AF2-F1DF-406C-AFE4-206740C43600}"/>
</file>

<file path=docProps/app.xml><?xml version="1.0" encoding="utf-8"?>
<Properties xmlns="http://schemas.openxmlformats.org/officeDocument/2006/extended-properties" xmlns:vt="http://schemas.openxmlformats.org/officeDocument/2006/docPropsVTypes">
  <Template>Accenture_Image_Pencils_Letter</Template>
  <TotalTime>3993</TotalTime>
  <Words>2182</Words>
  <Application>Microsoft Office PowerPoint</Application>
  <PresentationFormat>On-screen Show (4:3)</PresentationFormat>
  <Paragraphs>581</Paragraphs>
  <Slides>1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2</vt:i4>
      </vt:variant>
    </vt:vector>
  </HeadingPairs>
  <TitlesOfParts>
    <vt:vector size="21" baseType="lpstr">
      <vt:lpstr>Arial</vt:lpstr>
      <vt:lpstr>Calibri</vt:lpstr>
      <vt:lpstr>Courier New</vt:lpstr>
      <vt:lpstr>inherit</vt:lpstr>
      <vt:lpstr>Wingdings</vt:lpstr>
      <vt:lpstr>Accenture_Image_Pencils_Letter</vt:lpstr>
      <vt:lpstr>Accenture Management Consulting Accordian Leafes</vt:lpstr>
      <vt:lpstr>think-cell Slide</vt:lpstr>
      <vt:lpstr>Worksheet</vt:lpstr>
      <vt:lpstr>PowerPoint Presentation</vt:lpstr>
      <vt:lpstr>TREINAMENTO DOS MÓD. DE CONFIGURAÇÃO 2P, 3P e 4P</vt:lpstr>
      <vt:lpstr>TREINAMENTO DOS MÓD. DE CONFIGURAÇÃO 2P, 3P e 4P</vt:lpstr>
      <vt:lpstr>TREINAMENTO DOS MÓD. DE CONFIGURAÇÃO 2P, 3P e 4P</vt:lpstr>
      <vt:lpstr>TREINAMENTO DOS MÓD. DE CONFIGURAÇÃO 2P, 3P e 4P</vt:lpstr>
      <vt:lpstr>TREINAMENTO DOS MÓD. DE CONFIGURAÇÃO 2P, 3P e 4P</vt:lpstr>
      <vt:lpstr>TREINAMENTO DOS MÓD. DE CONFIGURAÇÃO 2P, 3P e 4P</vt:lpstr>
      <vt:lpstr>TREINAMENTO DOS MÓD. DE CONFIGURAÇÃO 2P, 3P e 4P</vt:lpstr>
      <vt:lpstr>TREINAMENTO DOS MÓD. DE CONFIGURAÇÃO 2P, 3P e 4P</vt:lpstr>
      <vt:lpstr>TREINAMENTO DOS MÓD. DE CONFIGURAÇÃO 2P, 3P e 4P</vt:lpstr>
      <vt:lpstr>TREINAMENTO DOS MÓD. DE CONFIGURAÇÃO 2P, 3P e 4P</vt:lpstr>
      <vt:lpstr>TREINAMENTO DOS MÓD. DE CONFIGURAÇÃO 2P, 3P e 4P</vt:lpstr>
    </vt:vector>
  </TitlesOfParts>
  <Company>Accenture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</dc:title>
  <dc:creator>Rodrigues, Julio C.</dc:creator>
  <cp:lastModifiedBy>Teixeira, Julio Cesar</cp:lastModifiedBy>
  <cp:revision>197</cp:revision>
  <dcterms:created xsi:type="dcterms:W3CDTF">2015-07-20T19:08:40Z</dcterms:created>
  <dcterms:modified xsi:type="dcterms:W3CDTF">2015-11-17T17:47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E709C374FACB14285F2A374B0B7BCA5</vt:lpwstr>
  </property>
</Properties>
</file>